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71" r:id="rId1"/>
    <p:sldMasterId id="2147484264" r:id="rId2"/>
    <p:sldMasterId id="2147484241" r:id="rId3"/>
  </p:sldMasterIdLst>
  <p:notesMasterIdLst>
    <p:notesMasterId r:id="rId26"/>
  </p:notesMasterIdLst>
  <p:handoutMasterIdLst>
    <p:handoutMasterId r:id="rId27"/>
  </p:handoutMasterIdLst>
  <p:sldIdLst>
    <p:sldId id="466" r:id="rId4"/>
    <p:sldId id="468" r:id="rId5"/>
    <p:sldId id="538" r:id="rId6"/>
    <p:sldId id="539" r:id="rId7"/>
    <p:sldId id="540" r:id="rId8"/>
    <p:sldId id="541" r:id="rId9"/>
    <p:sldId id="542" r:id="rId10"/>
    <p:sldId id="543" r:id="rId11"/>
    <p:sldId id="513" r:id="rId12"/>
    <p:sldId id="515" r:id="rId13"/>
    <p:sldId id="496" r:id="rId14"/>
    <p:sldId id="497" r:id="rId15"/>
    <p:sldId id="502" r:id="rId16"/>
    <p:sldId id="503" r:id="rId17"/>
    <p:sldId id="504" r:id="rId18"/>
    <p:sldId id="536" r:id="rId19"/>
    <p:sldId id="505" r:id="rId20"/>
    <p:sldId id="506" r:id="rId21"/>
    <p:sldId id="544" r:id="rId22"/>
    <p:sldId id="507" r:id="rId23"/>
    <p:sldId id="531" r:id="rId24"/>
    <p:sldId id="548" r:id="rId25"/>
  </p:sldIdLst>
  <p:sldSz cx="9144000" cy="6858000" type="letter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431" userDrawn="1">
          <p15:clr>
            <a:srgbClr val="A4A3A4"/>
          </p15:clr>
        </p15:guide>
        <p15:guide id="2" orient="horz" pos="2545" userDrawn="1">
          <p15:clr>
            <a:srgbClr val="A4A3A4"/>
          </p15:clr>
        </p15:guide>
        <p15:guide id="3" orient="horz" pos="4641" userDrawn="1">
          <p15:clr>
            <a:srgbClr val="A4A3A4"/>
          </p15:clr>
        </p15:guide>
        <p15:guide id="4" orient="horz" pos="4924" userDrawn="1">
          <p15:clr>
            <a:srgbClr val="A4A3A4"/>
          </p15:clr>
        </p15:guide>
        <p15:guide id="5" orient="horz" pos="372" userDrawn="1">
          <p15:clr>
            <a:srgbClr val="A4A3A4"/>
          </p15:clr>
        </p15:guide>
        <p15:guide id="6" pos="424" userDrawn="1">
          <p15:clr>
            <a:srgbClr val="A4A3A4"/>
          </p15:clr>
        </p15:guide>
        <p15:guide id="7" pos="4759" userDrawn="1">
          <p15:clr>
            <a:srgbClr val="A4A3A4"/>
          </p15:clr>
        </p15:guide>
        <p15:guide id="8" pos="346" userDrawn="1">
          <p15:clr>
            <a:srgbClr val="A4A3A4"/>
          </p15:clr>
        </p15:guide>
        <p15:guide id="9" pos="340" userDrawn="1">
          <p15:clr>
            <a:srgbClr val="A4A3A4"/>
          </p15:clr>
        </p15:guide>
        <p15:guide id="10" pos="3202" userDrawn="1">
          <p15:clr>
            <a:srgbClr val="A4A3A4"/>
          </p15:clr>
        </p15:guide>
        <p15:guide id="11" orient="horz" pos="4073" userDrawn="1">
          <p15:clr>
            <a:srgbClr val="A4A3A4"/>
          </p15:clr>
        </p15:guide>
        <p15:guide id="12" orient="horz" pos="1909" userDrawn="1">
          <p15:clr>
            <a:srgbClr val="A4A3A4"/>
          </p15:clr>
        </p15:guide>
        <p15:guide id="13" orient="horz" pos="3481" userDrawn="1">
          <p15:clr>
            <a:srgbClr val="A4A3A4"/>
          </p15:clr>
        </p15:guide>
        <p15:guide id="14" orient="horz" pos="3693" userDrawn="1">
          <p15:clr>
            <a:srgbClr val="A4A3A4"/>
          </p15:clr>
        </p15:guide>
        <p15:guide id="15" orient="horz" pos="27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002060"/>
    <a:srgbClr val="C49500"/>
    <a:srgbClr val="003472"/>
    <a:srgbClr val="800000"/>
    <a:srgbClr val="6B1664"/>
    <a:srgbClr val="666699"/>
    <a:srgbClr val="E13A3E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04" autoAdjust="0"/>
    <p:restoredTop sz="93206" autoAdjust="0"/>
  </p:normalViewPr>
  <p:slideViewPr>
    <p:cSldViewPr snapToGrid="0">
      <p:cViewPr varScale="1">
        <p:scale>
          <a:sx n="70" d="100"/>
          <a:sy n="70" d="100"/>
        </p:scale>
        <p:origin x="-264" y="-90"/>
      </p:cViewPr>
      <p:guideLst>
        <p:guide orient="horz" pos="5431"/>
        <p:guide orient="horz" pos="2545"/>
        <p:guide orient="horz" pos="4641"/>
        <p:guide orient="horz" pos="4924"/>
        <p:guide orient="horz" pos="372"/>
        <p:guide orient="horz" pos="4073"/>
        <p:guide orient="horz" pos="1909"/>
        <p:guide orient="horz" pos="3481"/>
        <p:guide orient="horz" pos="3693"/>
        <p:guide orient="horz" pos="279"/>
        <p:guide pos="424"/>
        <p:guide pos="4759"/>
        <p:guide pos="346"/>
        <p:guide pos="340"/>
        <p:guide pos="3202"/>
      </p:guideLst>
    </p:cSldViewPr>
  </p:slideViewPr>
  <p:outlineViewPr>
    <p:cViewPr>
      <p:scale>
        <a:sx n="33" d="100"/>
        <a:sy n="33" d="100"/>
      </p:scale>
      <p:origin x="0" y="8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150" y="96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braswell\Documents\2017\BACKUP%20INFO%20-%202Q%20REPORT.xls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5.bin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6.bin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7.bin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8.bin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EC17GF RU'!$G$39</c:f>
              <c:strCache>
                <c:ptCount val="1"/>
                <c:pt idx="0">
                  <c:v>Budget</c:v>
                </c:pt>
              </c:strCache>
            </c:strRef>
          </c:tx>
          <c:invertIfNegative val="0"/>
          <c:cat>
            <c:strRef>
              <c:f>'DEC17GF RU'!$C$40:$F$42</c:f>
              <c:strCache>
                <c:ptCount val="3"/>
                <c:pt idx="0">
                  <c:v>General Fund</c:v>
                </c:pt>
                <c:pt idx="1">
                  <c:v>Solid Waste Revenue Fund</c:v>
                </c:pt>
                <c:pt idx="2">
                  <c:v>Fleet Services Fund</c:v>
                </c:pt>
              </c:strCache>
            </c:strRef>
          </c:cat>
          <c:val>
            <c:numRef>
              <c:f>'DEC17GF RU'!$G$40:$G$42</c:f>
              <c:numCache>
                <c:formatCode>_(* #,##0.00_);_(* \(#,##0.00\);_(* "-"??_);_(@_)</c:formatCode>
                <c:ptCount val="3"/>
                <c:pt idx="0">
                  <c:v>37585502</c:v>
                </c:pt>
                <c:pt idx="1">
                  <c:v>55607233</c:v>
                </c:pt>
                <c:pt idx="2">
                  <c:v>33400588</c:v>
                </c:pt>
              </c:numCache>
            </c:numRef>
          </c:val>
        </c:ser>
        <c:ser>
          <c:idx val="1"/>
          <c:order val="1"/>
          <c:tx>
            <c:strRef>
              <c:f>'DEC17GF RU'!$H$39</c:f>
              <c:strCache>
                <c:ptCount val="1"/>
                <c:pt idx="0">
                  <c:v>Actual</c:v>
                </c:pt>
              </c:strCache>
            </c:strRef>
          </c:tx>
          <c:invertIfNegative val="0"/>
          <c:cat>
            <c:strRef>
              <c:f>'DEC17GF RU'!$C$40:$F$42</c:f>
              <c:strCache>
                <c:ptCount val="3"/>
                <c:pt idx="0">
                  <c:v>General Fund</c:v>
                </c:pt>
                <c:pt idx="1">
                  <c:v>Solid Waste Revenue Fund</c:v>
                </c:pt>
                <c:pt idx="2">
                  <c:v>Fleet Services Fund</c:v>
                </c:pt>
              </c:strCache>
            </c:strRef>
          </c:cat>
          <c:val>
            <c:numRef>
              <c:f>'DEC17GF RU'!$H$40:$H$42</c:f>
              <c:numCache>
                <c:formatCode>_(* #,##0.00_);_(* \(#,##0.00\);_(* "-"??_);_(@_)</c:formatCode>
                <c:ptCount val="3"/>
                <c:pt idx="0">
                  <c:v>27277682.289999999</c:v>
                </c:pt>
                <c:pt idx="1">
                  <c:v>31081905.07</c:v>
                </c:pt>
                <c:pt idx="2">
                  <c:v>18209508.10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4037376"/>
        <c:axId val="129593344"/>
      </c:barChart>
      <c:catAx>
        <c:axId val="1040373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29593344"/>
        <c:crosses val="autoZero"/>
        <c:auto val="1"/>
        <c:lblAlgn val="ctr"/>
        <c:lblOffset val="100"/>
        <c:noMultiLvlLbl val="0"/>
      </c:catAx>
      <c:valAx>
        <c:axId val="129593344"/>
        <c:scaling>
          <c:orientation val="minMax"/>
        </c:scaling>
        <c:delete val="0"/>
        <c:axPos val="l"/>
        <c:majorGridlines/>
        <c:numFmt formatCode="_(* #,##0.00_);_(* \(#,##0.00\);_(* &quot;-&quot;??_);_(@_)" sourceLinked="1"/>
        <c:majorTickMark val="out"/>
        <c:minorTickMark val="none"/>
        <c:tickLblPos val="nextTo"/>
        <c:crossAx val="104037376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4705882352941176E-2"/>
                <c:y val="0.3373280661097986"/>
              </c:manualLayout>
            </c:layout>
            <c:tx>
              <c:rich>
                <a:bodyPr/>
                <a:lstStyle/>
                <a:p>
                  <a:pPr>
                    <a:defRPr/>
                  </a:pPr>
                  <a:r>
                    <a:rPr lang="en-US" dirty="0" smtClean="0"/>
                    <a:t>$ in Millions</a:t>
                  </a:r>
                  <a:endParaRPr lang="en-US" dirty="0"/>
                </a:p>
              </c:rich>
            </c:tx>
          </c:dispUnitsLbl>
        </c:dispUnits>
      </c:valAx>
    </c:plotArea>
    <c:legend>
      <c:legendPos val="r"/>
      <c:legendEntry>
        <c:idx val="0"/>
        <c:txPr>
          <a:bodyPr/>
          <a:lstStyle/>
          <a:p>
            <a:pPr>
              <a:defRPr sz="1200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200"/>
            </a:pPr>
            <a:endParaRPr lang="en-US"/>
          </a:p>
        </c:txPr>
      </c:legendEntry>
      <c:layout>
        <c:manualLayout>
          <c:xMode val="edge"/>
          <c:yMode val="edge"/>
          <c:x val="0.90202588647007365"/>
          <c:y val="0.42571163577303317"/>
          <c:w val="9.797411352992641E-2"/>
          <c:h val="0.14857644316342666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baseline="0" dirty="0" smtClean="0">
                <a:latin typeface="+mj-lt"/>
              </a:rPr>
              <a:t>Allocation of Funds</a:t>
            </a:r>
            <a:endParaRPr lang="en-US" dirty="0">
              <a:latin typeface="+mj-lt"/>
            </a:endParaRPr>
          </a:p>
        </c:rich>
      </c:tx>
      <c:layout/>
      <c:overlay val="0"/>
      <c:spPr>
        <a:solidFill>
          <a:schemeClr val="accent1">
            <a:lumMod val="20000"/>
            <a:lumOff val="80000"/>
          </a:schemeClr>
        </a:solidFill>
      </c:spPr>
    </c:title>
    <c:autoTitleDeleted val="0"/>
    <c:view3D>
      <c:rotX val="30"/>
      <c:rotY val="72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'DEC17GF RU'!$H$30</c:f>
              <c:strCache>
                <c:ptCount val="1"/>
                <c:pt idx="0">
                  <c:v>Budget</c:v>
                </c:pt>
              </c:strCache>
            </c:strRef>
          </c:tx>
          <c:explosion val="9"/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EC17GF RU'!$C$31:$C$35</c:f>
              <c:strCache>
                <c:ptCount val="5"/>
                <c:pt idx="0">
                  <c:v>Salaries &amp; Benefits</c:v>
                </c:pt>
                <c:pt idx="1">
                  <c:v>Contracted Services</c:v>
                </c:pt>
                <c:pt idx="2">
                  <c:v>Supplies</c:v>
                </c:pt>
                <c:pt idx="3">
                  <c:v>Other</c:v>
                </c:pt>
                <c:pt idx="4">
                  <c:v>Fuel &amp; Repairs</c:v>
                </c:pt>
              </c:strCache>
            </c:strRef>
          </c:cat>
          <c:val>
            <c:numRef>
              <c:f>'DEC17GF RU'!$H$31:$H$35</c:f>
              <c:numCache>
                <c:formatCode>General</c:formatCode>
                <c:ptCount val="5"/>
                <c:pt idx="0">
                  <c:v>13.692636</c:v>
                </c:pt>
                <c:pt idx="1">
                  <c:v>8.9495649999999998</c:v>
                </c:pt>
                <c:pt idx="2">
                  <c:v>11.511993</c:v>
                </c:pt>
                <c:pt idx="3">
                  <c:v>1.6301600000000001</c:v>
                </c:pt>
                <c:pt idx="4">
                  <c:v>1.80114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+mj-lt"/>
              </a:rPr>
              <a:t>Personnel Expenses: Budget</a:t>
            </a:r>
            <a:r>
              <a:rPr lang="en-US" baseline="0" dirty="0" smtClean="0">
                <a:latin typeface="+mj-lt"/>
              </a:rPr>
              <a:t> vs. Actual</a:t>
            </a:r>
            <a:endParaRPr lang="en-US" dirty="0">
              <a:latin typeface="+mj-lt"/>
            </a:endParaRPr>
          </a:p>
        </c:rich>
      </c:tx>
      <c:layout/>
      <c:overlay val="0"/>
      <c:spPr>
        <a:solidFill>
          <a:schemeClr val="accent1">
            <a:lumMod val="20000"/>
            <a:lumOff val="80000"/>
          </a:schemeClr>
        </a:solidFill>
      </c:spPr>
    </c:title>
    <c:autoTitleDeleted val="0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Summary!$D$3</c:f>
              <c:strCache>
                <c:ptCount val="1"/>
                <c:pt idx="0">
                  <c:v>Budg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ummary!$A$4:$A$8</c:f>
              <c:strCache>
                <c:ptCount val="5"/>
                <c:pt idx="0">
                  <c:v>SALARIES</c:v>
                </c:pt>
                <c:pt idx="1">
                  <c:v>EXTRA HELP</c:v>
                </c:pt>
                <c:pt idx="2">
                  <c:v>OVERTIME</c:v>
                </c:pt>
                <c:pt idx="3">
                  <c:v>BENEFITS</c:v>
                </c:pt>
                <c:pt idx="4">
                  <c:v>WORKER'S COMP</c:v>
                </c:pt>
              </c:strCache>
            </c:strRef>
          </c:cat>
          <c:val>
            <c:numRef>
              <c:f>Summary!$D$4:$D$8</c:f>
              <c:numCache>
                <c:formatCode>_(* #,##0.00_);_(* \(#,##0.00\);_(* "-"??_);_(@_)</c:formatCode>
                <c:ptCount val="5"/>
                <c:pt idx="0">
                  <c:v>9.0224150000000005</c:v>
                </c:pt>
                <c:pt idx="1">
                  <c:v>0.26799699999999999</c:v>
                </c:pt>
                <c:pt idx="2">
                  <c:v>0.275252</c:v>
                </c:pt>
                <c:pt idx="3">
                  <c:v>4.0163630000000001</c:v>
                </c:pt>
                <c:pt idx="4">
                  <c:v>0.110609</c:v>
                </c:pt>
              </c:numCache>
            </c:numRef>
          </c:val>
        </c:ser>
        <c:ser>
          <c:idx val="3"/>
          <c:order val="1"/>
          <c:tx>
            <c:strRef>
              <c:f>Summary!$E$3</c:f>
              <c:strCache>
                <c:ptCount val="1"/>
                <c:pt idx="0">
                  <c:v>YTD Actual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ummary!$A$4:$A$8</c:f>
              <c:strCache>
                <c:ptCount val="5"/>
                <c:pt idx="0">
                  <c:v>SALARIES</c:v>
                </c:pt>
                <c:pt idx="1">
                  <c:v>EXTRA HELP</c:v>
                </c:pt>
                <c:pt idx="2">
                  <c:v>OVERTIME</c:v>
                </c:pt>
                <c:pt idx="3">
                  <c:v>BENEFITS</c:v>
                </c:pt>
                <c:pt idx="4">
                  <c:v>WORKER'S COMP</c:v>
                </c:pt>
              </c:strCache>
            </c:strRef>
          </c:cat>
          <c:val>
            <c:numRef>
              <c:f>Summary!$E$4:$E$8</c:f>
              <c:numCache>
                <c:formatCode>_(* #,##0.00_);_(* \(#,##0.00\);_(* "-"??_);_(@_)</c:formatCode>
                <c:ptCount val="5"/>
                <c:pt idx="0">
                  <c:v>4.9274551400000002</c:v>
                </c:pt>
                <c:pt idx="1">
                  <c:v>0.28509085000000006</c:v>
                </c:pt>
                <c:pt idx="2">
                  <c:v>0.54966884000000005</c:v>
                </c:pt>
                <c:pt idx="3">
                  <c:v>2.1382228300000001</c:v>
                </c:pt>
                <c:pt idx="4">
                  <c:v>0.14887312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655552"/>
        <c:axId val="129657088"/>
      </c:barChart>
      <c:catAx>
        <c:axId val="1296555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29657088"/>
        <c:crosses val="autoZero"/>
        <c:auto val="1"/>
        <c:lblAlgn val="ctr"/>
        <c:lblOffset val="100"/>
        <c:noMultiLvlLbl val="0"/>
      </c:catAx>
      <c:valAx>
        <c:axId val="12965708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$</a:t>
                </a:r>
                <a:r>
                  <a:rPr lang="en-US" baseline="0"/>
                  <a:t> in Millions</a:t>
                </a:r>
                <a:endParaRPr lang="en-US"/>
              </a:p>
            </c:rich>
          </c:tx>
          <c:layout/>
          <c:overlay val="0"/>
        </c:title>
        <c:numFmt formatCode="_(* #,##0.00_);_(* \(#,##0.00\);_(* &quot;-&quot;??_);_(@_)" sourceLinked="1"/>
        <c:majorTickMark val="none"/>
        <c:minorTickMark val="none"/>
        <c:tickLblPos val="nextTo"/>
        <c:crossAx val="129655552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Allocation of </a:t>
            </a:r>
            <a:r>
              <a:rPr lang="en-US" dirty="0" smtClean="0"/>
              <a:t>Funds</a:t>
            </a:r>
            <a:endParaRPr lang="en-US" dirty="0"/>
          </a:p>
        </c:rich>
      </c:tx>
      <c:layout/>
      <c:overlay val="0"/>
      <c:spPr>
        <a:solidFill>
          <a:schemeClr val="accent1">
            <a:lumMod val="40000"/>
            <a:lumOff val="60000"/>
          </a:schemeClr>
        </a:solidFill>
      </c:spPr>
    </c:title>
    <c:autoTitleDeleted val="0"/>
    <c:view3D>
      <c:rotX val="30"/>
      <c:rotY val="144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</c:pie3DChart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/>
              <a:t>Allocation of </a:t>
            </a:r>
            <a:r>
              <a:rPr lang="en-US" dirty="0" smtClean="0"/>
              <a:t>Funds</a:t>
            </a:r>
            <a:endParaRPr lang="en-US" dirty="0"/>
          </a:p>
        </c:rich>
      </c:tx>
      <c:layout>
        <c:manualLayout>
          <c:xMode val="edge"/>
          <c:yMode val="edge"/>
          <c:x val="0.28751653543307087"/>
          <c:y val="6.6666666666666671E-3"/>
        </c:manualLayout>
      </c:layout>
      <c:overlay val="0"/>
      <c:spPr>
        <a:solidFill>
          <a:schemeClr val="accent1">
            <a:lumMod val="20000"/>
            <a:lumOff val="80000"/>
          </a:schemeClr>
        </a:solidFill>
      </c:spPr>
    </c:title>
    <c:autoTitleDeleted val="0"/>
    <c:view3D>
      <c:rotX val="30"/>
      <c:rotY val="168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2500000000000014E-2"/>
          <c:y val="0.16263018372703411"/>
          <c:w val="0.80166666666666664"/>
          <c:h val="0.7113230971128609"/>
        </c:manualLayout>
      </c:layout>
      <c:pie3DChart>
        <c:varyColors val="1"/>
        <c:ser>
          <c:idx val="0"/>
          <c:order val="0"/>
          <c:tx>
            <c:strRef>
              <c:f>'DEC17 SW RU'!$G$64</c:f>
              <c:strCache>
                <c:ptCount val="1"/>
                <c:pt idx="0">
                  <c:v>Budget</c:v>
                </c:pt>
              </c:strCache>
            </c:strRef>
          </c:tx>
          <c:explosion val="7"/>
          <c:dLbls>
            <c:dLbl>
              <c:idx val="3"/>
              <c:layout>
                <c:manualLayout>
                  <c:x val="0"/>
                  <c:y val="2.6322834645669292E-3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/>
                      <a:t>Indirect &amp; Non-Departmental
9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1911286089238843E-2"/>
                  <c:y val="4.803937007874015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EC17 SW RU'!$C$65:$C$69</c:f>
              <c:strCache>
                <c:ptCount val="5"/>
                <c:pt idx="0">
                  <c:v>Salaries &amp; Benefits</c:v>
                </c:pt>
                <c:pt idx="1">
                  <c:v>O&amp;M</c:v>
                </c:pt>
                <c:pt idx="2">
                  <c:v>Fuel &amp; Repairs</c:v>
                </c:pt>
                <c:pt idx="3">
                  <c:v>Indirect &amp; Non-Departmental</c:v>
                </c:pt>
                <c:pt idx="4">
                  <c:v>Other City Departments</c:v>
                </c:pt>
              </c:strCache>
            </c:strRef>
          </c:cat>
          <c:val>
            <c:numRef>
              <c:f>'DEC17 SW RU'!$G$65:$G$69</c:f>
              <c:numCache>
                <c:formatCode>"$"##,###,###,###,###,###,###,###,###,###,###,###,##0.00;[Color3]\-"$"##,###,###,###,###,###,###,###,###,###,###,###,##0.00</c:formatCode>
                <c:ptCount val="5"/>
                <c:pt idx="0">
                  <c:v>27674337</c:v>
                </c:pt>
                <c:pt idx="1">
                  <c:v>12082459</c:v>
                </c:pt>
                <c:pt idx="2">
                  <c:v>7228287</c:v>
                </c:pt>
                <c:pt idx="3">
                  <c:v>5359628</c:v>
                </c:pt>
                <c:pt idx="4" formatCode="&quot;$&quot;#,##0.00">
                  <c:v>326252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Personnel Expenses:</a:t>
            </a:r>
            <a:r>
              <a:rPr lang="en-US" baseline="0" dirty="0" smtClean="0"/>
              <a:t> </a:t>
            </a:r>
            <a:r>
              <a:rPr lang="en-US" dirty="0" smtClean="0"/>
              <a:t>Budget vs.</a:t>
            </a:r>
            <a:r>
              <a:rPr lang="en-US" baseline="0" dirty="0" smtClean="0"/>
              <a:t> Actual</a:t>
            </a:r>
            <a:endParaRPr lang="en-US" dirty="0"/>
          </a:p>
        </c:rich>
      </c:tx>
      <c:layout>
        <c:manualLayout>
          <c:xMode val="edge"/>
          <c:yMode val="edge"/>
          <c:x val="0.32563939577368634"/>
          <c:y val="0"/>
        </c:manualLayout>
      </c:layout>
      <c:overlay val="0"/>
      <c:spPr>
        <a:solidFill>
          <a:schemeClr val="accent1">
            <a:lumMod val="20000"/>
            <a:lumOff val="80000"/>
          </a:schemeClr>
        </a:solidFill>
      </c:spPr>
    </c:title>
    <c:autoTitleDeleted val="0"/>
    <c:plotArea>
      <c:layout>
        <c:manualLayout>
          <c:layoutTarget val="inner"/>
          <c:xMode val="edge"/>
          <c:yMode val="edge"/>
          <c:x val="0.21705849590499213"/>
          <c:y val="0.10281268927922471"/>
          <c:w val="0.76984696143751263"/>
          <c:h val="0.66083080961033713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ummary!$D$12</c:f>
              <c:strCache>
                <c:ptCount val="1"/>
                <c:pt idx="0">
                  <c:v>Budg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ummary!$A$13:$A$17</c:f>
              <c:strCache>
                <c:ptCount val="5"/>
                <c:pt idx="0">
                  <c:v>SALARIES</c:v>
                </c:pt>
                <c:pt idx="1">
                  <c:v>EXTRA HELP</c:v>
                </c:pt>
                <c:pt idx="2">
                  <c:v>OVERTIME</c:v>
                </c:pt>
                <c:pt idx="3">
                  <c:v>BENEFITS</c:v>
                </c:pt>
                <c:pt idx="4">
                  <c:v>WORKER'S COMP</c:v>
                </c:pt>
              </c:strCache>
            </c:strRef>
          </c:cat>
          <c:val>
            <c:numRef>
              <c:f>Summary!$D$13:$D$17</c:f>
              <c:numCache>
                <c:formatCode>_(* #,##0.00_);_(* \(#,##0.00\);_(* "-"??_);_(@_)</c:formatCode>
                <c:ptCount val="5"/>
                <c:pt idx="0">
                  <c:v>17.270502</c:v>
                </c:pt>
                <c:pt idx="1">
                  <c:v>0.27442899999999998</c:v>
                </c:pt>
                <c:pt idx="2">
                  <c:v>1.6186259999999999</c:v>
                </c:pt>
                <c:pt idx="3">
                  <c:v>9.6386610000000008</c:v>
                </c:pt>
                <c:pt idx="4">
                  <c:v>1.3514900000000001</c:v>
                </c:pt>
              </c:numCache>
            </c:numRef>
          </c:val>
        </c:ser>
        <c:ser>
          <c:idx val="3"/>
          <c:order val="1"/>
          <c:tx>
            <c:strRef>
              <c:f>Summary!$E$12</c:f>
              <c:strCache>
                <c:ptCount val="1"/>
                <c:pt idx="0">
                  <c:v>YTD Actual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ummary!$A$13:$A$17</c:f>
              <c:strCache>
                <c:ptCount val="5"/>
                <c:pt idx="0">
                  <c:v>SALARIES</c:v>
                </c:pt>
                <c:pt idx="1">
                  <c:v>EXTRA HELP</c:v>
                </c:pt>
                <c:pt idx="2">
                  <c:v>OVERTIME</c:v>
                </c:pt>
                <c:pt idx="3">
                  <c:v>BENEFITS</c:v>
                </c:pt>
                <c:pt idx="4">
                  <c:v>WORKER'S COMP</c:v>
                </c:pt>
              </c:strCache>
            </c:strRef>
          </c:cat>
          <c:val>
            <c:numRef>
              <c:f>Summary!$E$13:$E$17</c:f>
              <c:numCache>
                <c:formatCode>_(* #,##0.00_);_(* \(#,##0.00\);_(* "-"??_);_(@_)</c:formatCode>
                <c:ptCount val="5"/>
                <c:pt idx="0">
                  <c:v>6.8794653700000001</c:v>
                </c:pt>
                <c:pt idx="1">
                  <c:v>0.28590073999999999</c:v>
                </c:pt>
                <c:pt idx="2">
                  <c:v>0.84283393000000006</c:v>
                </c:pt>
                <c:pt idx="3">
                  <c:v>3.6151443400000005</c:v>
                </c:pt>
                <c:pt idx="4">
                  <c:v>0.8997203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7797248"/>
        <c:axId val="117798784"/>
      </c:barChart>
      <c:catAx>
        <c:axId val="1177972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17798784"/>
        <c:crosses val="autoZero"/>
        <c:auto val="1"/>
        <c:lblAlgn val="ctr"/>
        <c:lblOffset val="100"/>
        <c:noMultiLvlLbl val="0"/>
      </c:catAx>
      <c:valAx>
        <c:axId val="1177987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$ in Millions</a:t>
                </a:r>
              </a:p>
            </c:rich>
          </c:tx>
          <c:layout/>
          <c:overlay val="0"/>
        </c:title>
        <c:numFmt formatCode="_(* #,##0.00_);_(* \(#,##0.00\);_(* &quot;-&quot;??_);_(@_)" sourceLinked="1"/>
        <c:majorTickMark val="none"/>
        <c:minorTickMark val="none"/>
        <c:tickLblPos val="nextTo"/>
        <c:crossAx val="117797248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Allocation of Funds</a:t>
            </a:r>
            <a:endParaRPr lang="en-US" dirty="0"/>
          </a:p>
        </c:rich>
      </c:tx>
      <c:layout/>
      <c:overlay val="0"/>
      <c:spPr>
        <a:solidFill>
          <a:schemeClr val="accent1">
            <a:lumMod val="20000"/>
            <a:lumOff val="80000"/>
          </a:schemeClr>
        </a:solidFill>
      </c:spPr>
    </c:title>
    <c:autoTitleDeleted val="0"/>
    <c:view3D>
      <c:rotX val="30"/>
      <c:rotY val="4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'DEC17 FS RU'!$G$61</c:f>
              <c:strCache>
                <c:ptCount val="1"/>
                <c:pt idx="0">
                  <c:v>Budget</c:v>
                </c:pt>
              </c:strCache>
            </c:strRef>
          </c:tx>
          <c:explosion val="7"/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EC17 FS RU'!$C$62:$C$65</c:f>
              <c:strCache>
                <c:ptCount val="4"/>
                <c:pt idx="0">
                  <c:v>Salaries &amp; Benefits</c:v>
                </c:pt>
                <c:pt idx="1">
                  <c:v>Contracted Services</c:v>
                </c:pt>
                <c:pt idx="2">
                  <c:v>Supplies</c:v>
                </c:pt>
                <c:pt idx="3">
                  <c:v>Other</c:v>
                </c:pt>
              </c:strCache>
            </c:strRef>
          </c:cat>
          <c:val>
            <c:numRef>
              <c:f>'DEC17 FS RU'!$G$62:$G$65</c:f>
              <c:numCache>
                <c:formatCode>"$"##,###,###,###,###,###,###,###,###,###,###,###,##0.00;[Color3]\-"$"##,###,###,###,###,###,###,###,###,###,###,###,##0.00</c:formatCode>
                <c:ptCount val="4"/>
                <c:pt idx="0">
                  <c:v>13110378</c:v>
                </c:pt>
                <c:pt idx="1">
                  <c:v>3123148</c:v>
                </c:pt>
                <c:pt idx="2">
                  <c:v>13813405</c:v>
                </c:pt>
                <c:pt idx="3" formatCode="&quot;$&quot;#,##0.00">
                  <c:v>3353657</c:v>
                </c:pt>
              </c:numCache>
            </c:numRef>
          </c:val>
        </c:ser>
        <c:ser>
          <c:idx val="1"/>
          <c:order val="1"/>
          <c:tx>
            <c:strRef>
              <c:f>'DEC17 FS RU'!$C$63</c:f>
              <c:strCache>
                <c:ptCount val="1"/>
                <c:pt idx="0">
                  <c:v>Contracted Service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EC17 FS RU'!$C$62:$C$65</c:f>
              <c:strCache>
                <c:ptCount val="4"/>
                <c:pt idx="0">
                  <c:v>Salaries &amp; Benefits</c:v>
                </c:pt>
                <c:pt idx="1">
                  <c:v>Contracted Services</c:v>
                </c:pt>
                <c:pt idx="2">
                  <c:v>Supplies</c:v>
                </c:pt>
                <c:pt idx="3">
                  <c:v>Other</c:v>
                </c:pt>
              </c:strCache>
            </c:strRef>
          </c:cat>
          <c:val>
            <c:numRef>
              <c:f>'DEC17 FS RU'!$D$63:$G$63</c:f>
              <c:numCache>
                <c:formatCode>General</c:formatCode>
                <c:ptCount val="4"/>
                <c:pt idx="3" formatCode="&quot;$&quot;##,###,###,###,###,###,###,###,###,###,###,###,##0.00;[Color3]\-&quot;$&quot;##,###,###,###,###,###,###,###,###,###,###,###,##0.00">
                  <c:v>3123148</c:v>
                </c:pt>
              </c:numCache>
            </c:numRef>
          </c:val>
        </c:ser>
        <c:ser>
          <c:idx val="2"/>
          <c:order val="2"/>
          <c:tx>
            <c:strRef>
              <c:f>'DEC17 FS RU'!$C$64</c:f>
              <c:strCache>
                <c:ptCount val="1"/>
                <c:pt idx="0">
                  <c:v>Supplie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EC17 FS RU'!$C$62:$C$65</c:f>
              <c:strCache>
                <c:ptCount val="4"/>
                <c:pt idx="0">
                  <c:v>Salaries &amp; Benefits</c:v>
                </c:pt>
                <c:pt idx="1">
                  <c:v>Contracted Services</c:v>
                </c:pt>
                <c:pt idx="2">
                  <c:v>Supplies</c:v>
                </c:pt>
                <c:pt idx="3">
                  <c:v>Other</c:v>
                </c:pt>
              </c:strCache>
            </c:strRef>
          </c:cat>
          <c:val>
            <c:numRef>
              <c:f>'DEC17 FS RU'!$D$64:$G$64</c:f>
              <c:numCache>
                <c:formatCode>General</c:formatCode>
                <c:ptCount val="4"/>
                <c:pt idx="3" formatCode="&quot;$&quot;##,###,###,###,###,###,###,###,###,###,###,###,##0.00;[Color3]\-&quot;$&quot;##,###,###,###,###,###,###,###,###,###,###,###,##0.00">
                  <c:v>13813405</c:v>
                </c:pt>
              </c:numCache>
            </c:numRef>
          </c:val>
        </c:ser>
        <c:ser>
          <c:idx val="3"/>
          <c:order val="3"/>
          <c:tx>
            <c:strRef>
              <c:f>'DEC17 FS RU'!$C$65</c:f>
              <c:strCache>
                <c:ptCount val="1"/>
                <c:pt idx="0">
                  <c:v>Other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DEC17 FS RU'!$C$62:$C$65</c:f>
              <c:strCache>
                <c:ptCount val="4"/>
                <c:pt idx="0">
                  <c:v>Salaries &amp; Benefits</c:v>
                </c:pt>
                <c:pt idx="1">
                  <c:v>Contracted Services</c:v>
                </c:pt>
                <c:pt idx="2">
                  <c:v>Supplies</c:v>
                </c:pt>
                <c:pt idx="3">
                  <c:v>Other</c:v>
                </c:pt>
              </c:strCache>
            </c:strRef>
          </c:cat>
          <c:val>
            <c:numRef>
              <c:f>'DEC17 FS RU'!$D$65:$G$65</c:f>
              <c:numCache>
                <c:formatCode>General</c:formatCode>
                <c:ptCount val="4"/>
                <c:pt idx="3" formatCode="&quot;$&quot;#,##0.00">
                  <c:v>3353657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Personnel Expenses: Budget vs. Actual</a:t>
            </a:r>
            <a:endParaRPr lang="en-US" dirty="0"/>
          </a:p>
        </c:rich>
      </c:tx>
      <c:layout/>
      <c:overlay val="0"/>
      <c:spPr>
        <a:solidFill>
          <a:schemeClr val="accent1">
            <a:lumMod val="20000"/>
            <a:lumOff val="80000"/>
          </a:schemeClr>
        </a:solidFill>
      </c:spPr>
    </c:title>
    <c:autoTitleDeleted val="0"/>
    <c:plotArea>
      <c:layout>
        <c:manualLayout>
          <c:layoutTarget val="inner"/>
          <c:xMode val="edge"/>
          <c:yMode val="edge"/>
          <c:x val="0.20166746036047628"/>
          <c:y val="0.15803778048870651"/>
          <c:w val="0.76417819177655977"/>
          <c:h val="0.60255103323352188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ummary!$D$22</c:f>
              <c:strCache>
                <c:ptCount val="1"/>
                <c:pt idx="0">
                  <c:v>Budget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ummary!$A$23:$A$27</c:f>
              <c:strCache>
                <c:ptCount val="5"/>
                <c:pt idx="0">
                  <c:v>SALARIES</c:v>
                </c:pt>
                <c:pt idx="1">
                  <c:v>EXTRA HELP</c:v>
                </c:pt>
                <c:pt idx="2">
                  <c:v>OVERTIME</c:v>
                </c:pt>
                <c:pt idx="3">
                  <c:v>BENEFITS</c:v>
                </c:pt>
                <c:pt idx="4">
                  <c:v>WORKER'S COMP</c:v>
                </c:pt>
              </c:strCache>
            </c:strRef>
          </c:cat>
          <c:val>
            <c:numRef>
              <c:f>Summary!$D$23:$D$27</c:f>
              <c:numCache>
                <c:formatCode>_(* #,##0.00_);_(* \(#,##0.00\);_(* "-"??_);_(@_)</c:formatCode>
                <c:ptCount val="5"/>
                <c:pt idx="0">
                  <c:v>8.5108189999999997</c:v>
                </c:pt>
                <c:pt idx="1">
                  <c:v>0.125052</c:v>
                </c:pt>
                <c:pt idx="2">
                  <c:v>0.39690599999999998</c:v>
                </c:pt>
                <c:pt idx="3">
                  <c:v>4.3345669999999998</c:v>
                </c:pt>
                <c:pt idx="4">
                  <c:v>0.13477500000000001</c:v>
                </c:pt>
              </c:numCache>
            </c:numRef>
          </c:val>
        </c:ser>
        <c:ser>
          <c:idx val="3"/>
          <c:order val="1"/>
          <c:tx>
            <c:strRef>
              <c:f>Summary!$E$22</c:f>
              <c:strCache>
                <c:ptCount val="1"/>
                <c:pt idx="0">
                  <c:v>YTD Actual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ummary!$A$23:$A$27</c:f>
              <c:strCache>
                <c:ptCount val="5"/>
                <c:pt idx="0">
                  <c:v>SALARIES</c:v>
                </c:pt>
                <c:pt idx="1">
                  <c:v>EXTRA HELP</c:v>
                </c:pt>
                <c:pt idx="2">
                  <c:v>OVERTIME</c:v>
                </c:pt>
                <c:pt idx="3">
                  <c:v>BENEFITS</c:v>
                </c:pt>
                <c:pt idx="4">
                  <c:v>WORKER'S COMP</c:v>
                </c:pt>
              </c:strCache>
            </c:strRef>
          </c:cat>
          <c:val>
            <c:numRef>
              <c:f>Summary!$E$23:$E$27</c:f>
              <c:numCache>
                <c:formatCode>_(* #,##0.00_);_(* \(#,##0.00\);_(* "-"??_);_(@_)</c:formatCode>
                <c:ptCount val="5"/>
                <c:pt idx="0">
                  <c:v>3.8099628999999995</c:v>
                </c:pt>
                <c:pt idx="1">
                  <c:v>1.59997E-3</c:v>
                </c:pt>
                <c:pt idx="2">
                  <c:v>0.22825783000000002</c:v>
                </c:pt>
                <c:pt idx="3">
                  <c:v>1.8508421499999999</c:v>
                </c:pt>
                <c:pt idx="4">
                  <c:v>3.152556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056320"/>
        <c:axId val="16057856"/>
      </c:barChart>
      <c:catAx>
        <c:axId val="160563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6057856"/>
        <c:crosses val="autoZero"/>
        <c:auto val="1"/>
        <c:lblAlgn val="ctr"/>
        <c:lblOffset val="100"/>
        <c:noMultiLvlLbl val="0"/>
      </c:catAx>
      <c:valAx>
        <c:axId val="1605785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$ in Millions</a:t>
                </a:r>
              </a:p>
            </c:rich>
          </c:tx>
          <c:layout/>
          <c:overlay val="0"/>
        </c:title>
        <c:numFmt formatCode="_(* #,##0.00_);_(* \(#,##0.00\);_(* &quot;-&quot;??_);_(@_)" sourceLinked="1"/>
        <c:majorTickMark val="none"/>
        <c:minorTickMark val="none"/>
        <c:tickLblPos val="nextTo"/>
        <c:crossAx val="16056320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smtClean="0">
                <a:solidFill>
                  <a:schemeClr val="tx1"/>
                </a:solidFill>
              </a:rPr>
              <a:t>2016 Fleet Operations</a:t>
            </a:r>
            <a:endParaRPr lang="en-US" sz="14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4114320866141733"/>
          <c:y val="0.14073449803149607"/>
          <c:w val="0.78844324146981626"/>
          <c:h val="0.697844468235347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Units</c:v>
                </c:pt>
              </c:strCache>
            </c:strRef>
          </c:tx>
          <c:spPr>
            <a:solidFill>
              <a:srgbClr val="0070C0"/>
            </a:solidFill>
            <a:ln w="9525" cap="flat" cmpd="sng" algn="ctr">
              <a:solidFill>
                <a:schemeClr val="accent2">
                  <a:shade val="95000"/>
                </a:schemeClr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3</c:v>
                </c:pt>
                <c:pt idx="1">
                  <c:v>201</c:v>
                </c:pt>
                <c:pt idx="2">
                  <c:v>81</c:v>
                </c:pt>
                <c:pt idx="3">
                  <c:v>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axId val="149327872"/>
        <c:axId val="149305600"/>
      </c:barChart>
      <c:lineChart>
        <c:grouping val="standard"/>
        <c:varyColors val="0"/>
        <c:ser>
          <c:idx val="2"/>
          <c:order val="2"/>
          <c:tx>
            <c:strRef>
              <c:f>Sheet1!$C$1</c:f>
              <c:strCache>
                <c:ptCount val="1"/>
                <c:pt idx="0">
                  <c:v>Revenue</c:v>
                </c:pt>
              </c:strCache>
            </c:strRef>
          </c:tx>
          <c:spPr>
            <a:ln w="15875" cap="rnd">
              <a:solidFill>
                <a:schemeClr val="accent3"/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marker>
            <c:symbol val="none"/>
          </c:marker>
          <c:dLbls>
            <c:dLbl>
              <c:idx val="0"/>
              <c:layout>
                <c:manualLayout>
                  <c:x val="-2.0833333333333715E-3"/>
                  <c:y val="-2.5000000000000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7.638800644811996E-17"/>
                  <c:y val="-2.50000000000000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8.3333333333333332E-3"/>
                  <c:y val="-1.56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4583333333333334E-2"/>
                  <c:y val="1.2500000000000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Sheet1!$C$2:$C$5</c:f>
              <c:numCache>
                <c:formatCode>"$"#,##0_);[Red]\("$"#,##0\)</c:formatCode>
                <c:ptCount val="4"/>
                <c:pt idx="0">
                  <c:v>560410</c:v>
                </c:pt>
                <c:pt idx="1">
                  <c:v>554708</c:v>
                </c:pt>
                <c:pt idx="2">
                  <c:v>227253</c:v>
                </c:pt>
                <c:pt idx="3">
                  <c:v>5770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330944"/>
        <c:axId val="149329408"/>
      </c:lineChart>
      <c:valAx>
        <c:axId val="149305600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327872"/>
        <c:crosses val="max"/>
        <c:crossBetween val="between"/>
      </c:valAx>
      <c:catAx>
        <c:axId val="149327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305600"/>
        <c:crosses val="autoZero"/>
        <c:auto val="1"/>
        <c:lblAlgn val="ctr"/>
        <c:lblOffset val="100"/>
        <c:noMultiLvlLbl val="0"/>
      </c:catAx>
      <c:valAx>
        <c:axId val="149329408"/>
        <c:scaling>
          <c:orientation val="minMax"/>
        </c:scaling>
        <c:delete val="0"/>
        <c:axPos val="l"/>
        <c:numFmt formatCode="&quot;$&quot;#,##0_);[Red]\(&quot;$&quot;#,##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330944"/>
        <c:crosses val="autoZero"/>
        <c:crossBetween val="between"/>
      </c:valAx>
      <c:catAx>
        <c:axId val="1493309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9329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35530593832020996"/>
          <c:y val="0.94080043734766861"/>
          <c:w val="0.28938795931758532"/>
          <c:h val="5.91995626523313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75000"/>
            <a:lumOff val="2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75000"/>
            <a:lumOff val="2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6DC8CC-3A8B-184A-AE50-343E8823DBEC}" type="doc">
      <dgm:prSet loTypeId="urn:microsoft.com/office/officeart/2005/8/layout/radial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0EDDEB3-B693-7F40-86D2-A8268B48E2DC}">
      <dgm:prSet phldrT="[Text]"/>
      <dgm:spPr/>
      <dgm:t>
        <a:bodyPr/>
        <a:lstStyle/>
        <a:p>
          <a:r>
            <a:rPr lang="en-US" dirty="0" smtClean="0"/>
            <a:t>City of Atlanta</a:t>
          </a:r>
        </a:p>
      </dgm:t>
    </dgm:pt>
    <dgm:pt modelId="{C32B24D5-3F59-9E44-8FC3-9CB8AE07A902}" type="parTrans" cxnId="{9BAE15C4-A3FD-5B4E-AA00-EB93E2981DFC}">
      <dgm:prSet/>
      <dgm:spPr/>
      <dgm:t>
        <a:bodyPr/>
        <a:lstStyle/>
        <a:p>
          <a:endParaRPr lang="en-US"/>
        </a:p>
      </dgm:t>
    </dgm:pt>
    <dgm:pt modelId="{3815E1EC-50F4-834E-B08A-74D51D2477E9}" type="sibTrans" cxnId="{9BAE15C4-A3FD-5B4E-AA00-EB93E2981DFC}">
      <dgm:prSet/>
      <dgm:spPr/>
      <dgm:t>
        <a:bodyPr/>
        <a:lstStyle/>
        <a:p>
          <a:endParaRPr lang="en-US"/>
        </a:p>
      </dgm:t>
    </dgm:pt>
    <dgm:pt modelId="{877EF431-1A93-9A4F-A4D9-A583D7BF9D8F}">
      <dgm:prSet phldrT="[Text]" custT="1"/>
      <dgm:spPr/>
      <dgm:t>
        <a:bodyPr/>
        <a:lstStyle/>
        <a:p>
          <a:r>
            <a:rPr lang="en-US" sz="1050" dirty="0" smtClean="0"/>
            <a:t>DPW - Public Works</a:t>
          </a:r>
        </a:p>
        <a:p>
          <a:r>
            <a:rPr lang="en-US" sz="1000" dirty="0" smtClean="0"/>
            <a:t>Keep Atlanta Beautiful Commission</a:t>
          </a:r>
        </a:p>
      </dgm:t>
    </dgm:pt>
    <dgm:pt modelId="{8322529A-F8A6-AD4A-A92F-994028F865B8}" type="parTrans" cxnId="{FE6B8CCE-546C-EB41-BC27-2FC5FE7C380D}">
      <dgm:prSet/>
      <dgm:spPr/>
      <dgm:t>
        <a:bodyPr/>
        <a:lstStyle/>
        <a:p>
          <a:endParaRPr lang="en-US"/>
        </a:p>
      </dgm:t>
    </dgm:pt>
    <dgm:pt modelId="{5777E81E-A949-984C-8036-1D3305B186F7}" type="sibTrans" cxnId="{FE6B8CCE-546C-EB41-BC27-2FC5FE7C380D}">
      <dgm:prSet/>
      <dgm:spPr/>
      <dgm:t>
        <a:bodyPr/>
        <a:lstStyle/>
        <a:p>
          <a:endParaRPr lang="en-US"/>
        </a:p>
      </dgm:t>
    </dgm:pt>
    <dgm:pt modelId="{C2CCE03E-DD06-F848-AC41-69F43700E52B}">
      <dgm:prSet phldrT="[Text]" custT="1"/>
      <dgm:spPr/>
      <dgm:t>
        <a:bodyPr/>
        <a:lstStyle/>
        <a:p>
          <a:endParaRPr lang="en-US" sz="800" dirty="0" smtClean="0"/>
        </a:p>
        <a:p>
          <a:r>
            <a:rPr lang="en-US" sz="1000" dirty="0" smtClean="0"/>
            <a:t>Hard to Recycle Items</a:t>
          </a:r>
        </a:p>
        <a:p>
          <a:r>
            <a:rPr lang="en-US" sz="1000" dirty="0" err="1" smtClean="0"/>
            <a:t>CHaRM</a:t>
          </a:r>
          <a:endParaRPr lang="en-US" sz="1000" dirty="0" smtClean="0"/>
        </a:p>
        <a:p>
          <a:r>
            <a:rPr lang="en-US" sz="1000" dirty="0" smtClean="0"/>
            <a:t>Scrap Tires</a:t>
          </a:r>
        </a:p>
        <a:p>
          <a:r>
            <a:rPr lang="en-US" sz="1000" dirty="0" smtClean="0"/>
            <a:t>WRAP – Environmental Protection Agency</a:t>
          </a:r>
        </a:p>
        <a:p>
          <a:r>
            <a:rPr lang="en-US" sz="1000" dirty="0" smtClean="0"/>
            <a:t>Film Plastic</a:t>
          </a:r>
        </a:p>
      </dgm:t>
    </dgm:pt>
    <dgm:pt modelId="{4EFCDD84-7FBD-C24B-A468-87F84A0F6D0B}" type="parTrans" cxnId="{BDA8731A-7A1B-054D-8558-79B7CFEACA6B}">
      <dgm:prSet/>
      <dgm:spPr/>
      <dgm:t>
        <a:bodyPr/>
        <a:lstStyle/>
        <a:p>
          <a:endParaRPr lang="en-US"/>
        </a:p>
      </dgm:t>
    </dgm:pt>
    <dgm:pt modelId="{B738EDC1-8ED4-FD4E-85C6-56ECF54A52E6}" type="sibTrans" cxnId="{BDA8731A-7A1B-054D-8558-79B7CFEACA6B}">
      <dgm:prSet/>
      <dgm:spPr/>
      <dgm:t>
        <a:bodyPr/>
        <a:lstStyle/>
        <a:p>
          <a:endParaRPr lang="en-US"/>
        </a:p>
      </dgm:t>
    </dgm:pt>
    <dgm:pt modelId="{0C4831B5-78D3-E84D-8B23-2218C03A9D10}">
      <dgm:prSet phldrT="[Text]" custT="1"/>
      <dgm:spPr/>
      <dgm:t>
        <a:bodyPr/>
        <a:lstStyle/>
        <a:p>
          <a:r>
            <a:rPr lang="en-US" sz="1000" dirty="0" smtClean="0"/>
            <a:t>Data Management </a:t>
          </a:r>
        </a:p>
        <a:p>
          <a:r>
            <a:rPr lang="en-US" sz="1000" dirty="0" smtClean="0"/>
            <a:t>Rubicon</a:t>
          </a:r>
        </a:p>
        <a:p>
          <a:r>
            <a:rPr lang="en-US" sz="1000" dirty="0" err="1" smtClean="0"/>
            <a:t>Regrig</a:t>
          </a:r>
          <a:endParaRPr lang="en-US" sz="1000" dirty="0" smtClean="0"/>
        </a:p>
        <a:p>
          <a:r>
            <a:rPr lang="en-US" sz="1000" dirty="0" smtClean="0"/>
            <a:t> GA Tech</a:t>
          </a:r>
          <a:endParaRPr lang="en-US" sz="1000" dirty="0"/>
        </a:p>
      </dgm:t>
    </dgm:pt>
    <dgm:pt modelId="{F30ECFBC-89B0-1B40-8DDF-4D64404E33A3}" type="parTrans" cxnId="{FFAF6FF5-E288-2944-B921-8F3BD80ED6F7}">
      <dgm:prSet/>
      <dgm:spPr/>
      <dgm:t>
        <a:bodyPr/>
        <a:lstStyle/>
        <a:p>
          <a:endParaRPr lang="en-US" dirty="0"/>
        </a:p>
      </dgm:t>
    </dgm:pt>
    <dgm:pt modelId="{CAA4DB28-9D15-EA47-9184-6488D890B20C}" type="sibTrans" cxnId="{FFAF6FF5-E288-2944-B921-8F3BD80ED6F7}">
      <dgm:prSet/>
      <dgm:spPr/>
      <dgm:t>
        <a:bodyPr/>
        <a:lstStyle/>
        <a:p>
          <a:endParaRPr lang="en-US"/>
        </a:p>
      </dgm:t>
    </dgm:pt>
    <dgm:pt modelId="{76E81164-5CC4-9F44-8EAF-E9B3DDED7FAD}">
      <dgm:prSet phldrT="[Text]" custT="1"/>
      <dgm:spPr/>
      <dgm:t>
        <a:bodyPr/>
        <a:lstStyle/>
        <a:p>
          <a:endParaRPr lang="en-US" sz="800" dirty="0" smtClean="0"/>
        </a:p>
        <a:p>
          <a:r>
            <a:rPr lang="en-US" sz="1000" dirty="0" smtClean="0"/>
            <a:t>Other Partners</a:t>
          </a:r>
        </a:p>
        <a:p>
          <a:r>
            <a:rPr lang="en-US" sz="1000" dirty="0" smtClean="0"/>
            <a:t>Recycling Perks </a:t>
          </a:r>
        </a:p>
        <a:p>
          <a:r>
            <a:rPr lang="en-US" sz="1000" dirty="0" smtClean="0"/>
            <a:t>ATL Recycles Committee</a:t>
          </a:r>
          <a:endParaRPr lang="en-US" sz="1000" dirty="0"/>
        </a:p>
      </dgm:t>
    </dgm:pt>
    <dgm:pt modelId="{18721875-423E-1E4D-81F9-11DAEEC7A744}" type="sibTrans" cxnId="{35F74A4C-55C1-7946-8833-7C63B1D8E99E}">
      <dgm:prSet/>
      <dgm:spPr/>
      <dgm:t>
        <a:bodyPr/>
        <a:lstStyle/>
        <a:p>
          <a:endParaRPr lang="en-US"/>
        </a:p>
      </dgm:t>
    </dgm:pt>
    <dgm:pt modelId="{6F00DF85-284D-8443-A979-09A22E5F28A7}" type="parTrans" cxnId="{35F74A4C-55C1-7946-8833-7C63B1D8E99E}">
      <dgm:prSet/>
      <dgm:spPr/>
      <dgm:t>
        <a:bodyPr/>
        <a:lstStyle/>
        <a:p>
          <a:endParaRPr lang="en-US"/>
        </a:p>
      </dgm:t>
    </dgm:pt>
    <dgm:pt modelId="{EE37AD1B-0EB7-DF42-9893-65A3196F7429}" type="pres">
      <dgm:prSet presAssocID="{B46DC8CC-3A8B-184A-AE50-343E8823DBE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D43A754-EA8C-7347-AE98-536F595074C2}" type="pres">
      <dgm:prSet presAssocID="{E0EDDEB3-B693-7F40-86D2-A8268B48E2DC}" presName="centerShape" presStyleLbl="node0" presStyleIdx="0" presStyleCnt="1" custScaleX="108326" custScaleY="112809"/>
      <dgm:spPr/>
      <dgm:t>
        <a:bodyPr/>
        <a:lstStyle/>
        <a:p>
          <a:endParaRPr lang="en-US"/>
        </a:p>
      </dgm:t>
    </dgm:pt>
    <dgm:pt modelId="{1FC63335-C63F-B24A-9224-ADC3A6CFA82A}" type="pres">
      <dgm:prSet presAssocID="{8322529A-F8A6-AD4A-A92F-994028F865B8}" presName="parTrans" presStyleLbl="sibTrans2D1" presStyleIdx="0" presStyleCnt="4"/>
      <dgm:spPr/>
      <dgm:t>
        <a:bodyPr/>
        <a:lstStyle/>
        <a:p>
          <a:endParaRPr lang="en-US"/>
        </a:p>
      </dgm:t>
    </dgm:pt>
    <dgm:pt modelId="{638F287C-D1F8-D443-B9F9-75DC78CBC0F4}" type="pres">
      <dgm:prSet presAssocID="{8322529A-F8A6-AD4A-A92F-994028F865B8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8AD6D3EA-545F-3748-A713-E4A72CFF4B24}" type="pres">
      <dgm:prSet presAssocID="{877EF431-1A93-9A4F-A4D9-A583D7BF9D8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73E520-53AF-5842-82C9-D186CF2B8FCD}" type="pres">
      <dgm:prSet presAssocID="{4EFCDD84-7FBD-C24B-A468-87F84A0F6D0B}" presName="parTrans" presStyleLbl="sibTrans2D1" presStyleIdx="1" presStyleCnt="4"/>
      <dgm:spPr/>
      <dgm:t>
        <a:bodyPr/>
        <a:lstStyle/>
        <a:p>
          <a:endParaRPr lang="en-US"/>
        </a:p>
      </dgm:t>
    </dgm:pt>
    <dgm:pt modelId="{FA50726B-00EB-1E43-86BC-E54B3A8D9ABC}" type="pres">
      <dgm:prSet presAssocID="{4EFCDD84-7FBD-C24B-A468-87F84A0F6D0B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DD300365-9ACD-864C-89A3-FFD9B6FCC11A}" type="pres">
      <dgm:prSet presAssocID="{C2CCE03E-DD06-F848-AC41-69F43700E52B}" presName="node" presStyleLbl="node1" presStyleIdx="1" presStyleCnt="4" custScaleX="101287" custScaleY="1148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F5890F-7090-E945-AED8-408291B75B7F}" type="pres">
      <dgm:prSet presAssocID="{F30ECFBC-89B0-1B40-8DDF-4D64404E33A3}" presName="parTrans" presStyleLbl="sibTrans2D1" presStyleIdx="2" presStyleCnt="4"/>
      <dgm:spPr/>
      <dgm:t>
        <a:bodyPr/>
        <a:lstStyle/>
        <a:p>
          <a:endParaRPr lang="en-US"/>
        </a:p>
      </dgm:t>
    </dgm:pt>
    <dgm:pt modelId="{D10C5FB1-E2E4-CA4E-8243-01B7F4E91386}" type="pres">
      <dgm:prSet presAssocID="{F30ECFBC-89B0-1B40-8DDF-4D64404E33A3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4BB1F33B-E24E-DC43-8DC1-E051CB788C05}" type="pres">
      <dgm:prSet presAssocID="{0C4831B5-78D3-E84D-8B23-2218C03A9D10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994310-B64B-6746-A4B2-3B966472C07A}" type="pres">
      <dgm:prSet presAssocID="{6F00DF85-284D-8443-A979-09A22E5F28A7}" presName="parTrans" presStyleLbl="sibTrans2D1" presStyleIdx="3" presStyleCnt="4"/>
      <dgm:spPr/>
      <dgm:t>
        <a:bodyPr/>
        <a:lstStyle/>
        <a:p>
          <a:endParaRPr lang="en-US"/>
        </a:p>
      </dgm:t>
    </dgm:pt>
    <dgm:pt modelId="{704524D8-1EFF-314E-A9F3-2EA64B698FC6}" type="pres">
      <dgm:prSet presAssocID="{6F00DF85-284D-8443-A979-09A22E5F28A7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CABF8397-9165-4547-9263-49A772FE3D2B}" type="pres">
      <dgm:prSet presAssocID="{76E81164-5CC4-9F44-8EAF-E9B3DDED7FAD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9A20721-270B-4DD4-9773-A8FC77E572D0}" type="presOf" srcId="{E0EDDEB3-B693-7F40-86D2-A8268B48E2DC}" destId="{5D43A754-EA8C-7347-AE98-536F595074C2}" srcOrd="0" destOrd="0" presId="urn:microsoft.com/office/officeart/2005/8/layout/radial5"/>
    <dgm:cxn modelId="{1FED004E-A13D-4C42-85A3-9DBB31908A72}" type="presOf" srcId="{6F00DF85-284D-8443-A979-09A22E5F28A7}" destId="{704524D8-1EFF-314E-A9F3-2EA64B698FC6}" srcOrd="1" destOrd="0" presId="urn:microsoft.com/office/officeart/2005/8/layout/radial5"/>
    <dgm:cxn modelId="{823671ED-34E5-4029-BB37-9E00D5F9E492}" type="presOf" srcId="{877EF431-1A93-9A4F-A4D9-A583D7BF9D8F}" destId="{8AD6D3EA-545F-3748-A713-E4A72CFF4B24}" srcOrd="0" destOrd="0" presId="urn:microsoft.com/office/officeart/2005/8/layout/radial5"/>
    <dgm:cxn modelId="{B29DE844-AC6F-4C8A-8EBF-57798FACA56F}" type="presOf" srcId="{8322529A-F8A6-AD4A-A92F-994028F865B8}" destId="{638F287C-D1F8-D443-B9F9-75DC78CBC0F4}" srcOrd="1" destOrd="0" presId="urn:microsoft.com/office/officeart/2005/8/layout/radial5"/>
    <dgm:cxn modelId="{96867AE8-AF9B-4634-86EC-DD18173917E9}" type="presOf" srcId="{C2CCE03E-DD06-F848-AC41-69F43700E52B}" destId="{DD300365-9ACD-864C-89A3-FFD9B6FCC11A}" srcOrd="0" destOrd="0" presId="urn:microsoft.com/office/officeart/2005/8/layout/radial5"/>
    <dgm:cxn modelId="{EB99679C-5F04-4F3C-AD34-1960F07FF9D9}" type="presOf" srcId="{0C4831B5-78D3-E84D-8B23-2218C03A9D10}" destId="{4BB1F33B-E24E-DC43-8DC1-E051CB788C05}" srcOrd="0" destOrd="0" presId="urn:microsoft.com/office/officeart/2005/8/layout/radial5"/>
    <dgm:cxn modelId="{FFAF6FF5-E288-2944-B921-8F3BD80ED6F7}" srcId="{E0EDDEB3-B693-7F40-86D2-A8268B48E2DC}" destId="{0C4831B5-78D3-E84D-8B23-2218C03A9D10}" srcOrd="2" destOrd="0" parTransId="{F30ECFBC-89B0-1B40-8DDF-4D64404E33A3}" sibTransId="{CAA4DB28-9D15-EA47-9184-6488D890B20C}"/>
    <dgm:cxn modelId="{906D389D-F64E-4F7E-91E1-2793E7B73A58}" type="presOf" srcId="{F30ECFBC-89B0-1B40-8DDF-4D64404E33A3}" destId="{31F5890F-7090-E945-AED8-408291B75B7F}" srcOrd="0" destOrd="0" presId="urn:microsoft.com/office/officeart/2005/8/layout/radial5"/>
    <dgm:cxn modelId="{35F74A4C-55C1-7946-8833-7C63B1D8E99E}" srcId="{E0EDDEB3-B693-7F40-86D2-A8268B48E2DC}" destId="{76E81164-5CC4-9F44-8EAF-E9B3DDED7FAD}" srcOrd="3" destOrd="0" parTransId="{6F00DF85-284D-8443-A979-09A22E5F28A7}" sibTransId="{18721875-423E-1E4D-81F9-11DAEEC7A744}"/>
    <dgm:cxn modelId="{8B57466C-D326-4C03-9B17-BC92822E6451}" type="presOf" srcId="{76E81164-5CC4-9F44-8EAF-E9B3DDED7FAD}" destId="{CABF8397-9165-4547-9263-49A772FE3D2B}" srcOrd="0" destOrd="0" presId="urn:microsoft.com/office/officeart/2005/8/layout/radial5"/>
    <dgm:cxn modelId="{C6BE92EB-B3EA-4C9C-BE41-10DEF7D957D7}" type="presOf" srcId="{4EFCDD84-7FBD-C24B-A468-87F84A0F6D0B}" destId="{5E73E520-53AF-5842-82C9-D186CF2B8FCD}" srcOrd="0" destOrd="0" presId="urn:microsoft.com/office/officeart/2005/8/layout/radial5"/>
    <dgm:cxn modelId="{1EABB61E-6186-417D-961E-DA82FF3CB2D9}" type="presOf" srcId="{B46DC8CC-3A8B-184A-AE50-343E8823DBEC}" destId="{EE37AD1B-0EB7-DF42-9893-65A3196F7429}" srcOrd="0" destOrd="0" presId="urn:microsoft.com/office/officeart/2005/8/layout/radial5"/>
    <dgm:cxn modelId="{02F052EB-1B3D-41C3-9A9F-E9857437D788}" type="presOf" srcId="{4EFCDD84-7FBD-C24B-A468-87F84A0F6D0B}" destId="{FA50726B-00EB-1E43-86BC-E54B3A8D9ABC}" srcOrd="1" destOrd="0" presId="urn:microsoft.com/office/officeart/2005/8/layout/radial5"/>
    <dgm:cxn modelId="{2D480D52-1F55-4D08-B346-BCE19F0980CF}" type="presOf" srcId="{F30ECFBC-89B0-1B40-8DDF-4D64404E33A3}" destId="{D10C5FB1-E2E4-CA4E-8243-01B7F4E91386}" srcOrd="1" destOrd="0" presId="urn:microsoft.com/office/officeart/2005/8/layout/radial5"/>
    <dgm:cxn modelId="{BDA8731A-7A1B-054D-8558-79B7CFEACA6B}" srcId="{E0EDDEB3-B693-7F40-86D2-A8268B48E2DC}" destId="{C2CCE03E-DD06-F848-AC41-69F43700E52B}" srcOrd="1" destOrd="0" parTransId="{4EFCDD84-7FBD-C24B-A468-87F84A0F6D0B}" sibTransId="{B738EDC1-8ED4-FD4E-85C6-56ECF54A52E6}"/>
    <dgm:cxn modelId="{3CAC9A04-A70A-44C1-958C-9E2079C2E869}" type="presOf" srcId="{6F00DF85-284D-8443-A979-09A22E5F28A7}" destId="{5B994310-B64B-6746-A4B2-3B966472C07A}" srcOrd="0" destOrd="0" presId="urn:microsoft.com/office/officeart/2005/8/layout/radial5"/>
    <dgm:cxn modelId="{8F92C72E-CBE3-4984-A755-CFF0233E3565}" type="presOf" srcId="{8322529A-F8A6-AD4A-A92F-994028F865B8}" destId="{1FC63335-C63F-B24A-9224-ADC3A6CFA82A}" srcOrd="0" destOrd="0" presId="urn:microsoft.com/office/officeart/2005/8/layout/radial5"/>
    <dgm:cxn modelId="{9BAE15C4-A3FD-5B4E-AA00-EB93E2981DFC}" srcId="{B46DC8CC-3A8B-184A-AE50-343E8823DBEC}" destId="{E0EDDEB3-B693-7F40-86D2-A8268B48E2DC}" srcOrd="0" destOrd="0" parTransId="{C32B24D5-3F59-9E44-8FC3-9CB8AE07A902}" sibTransId="{3815E1EC-50F4-834E-B08A-74D51D2477E9}"/>
    <dgm:cxn modelId="{FE6B8CCE-546C-EB41-BC27-2FC5FE7C380D}" srcId="{E0EDDEB3-B693-7F40-86D2-A8268B48E2DC}" destId="{877EF431-1A93-9A4F-A4D9-A583D7BF9D8F}" srcOrd="0" destOrd="0" parTransId="{8322529A-F8A6-AD4A-A92F-994028F865B8}" sibTransId="{5777E81E-A949-984C-8036-1D3305B186F7}"/>
    <dgm:cxn modelId="{21245948-48FB-40B9-A42B-20B8FCD2C18E}" type="presParOf" srcId="{EE37AD1B-0EB7-DF42-9893-65A3196F7429}" destId="{5D43A754-EA8C-7347-AE98-536F595074C2}" srcOrd="0" destOrd="0" presId="urn:microsoft.com/office/officeart/2005/8/layout/radial5"/>
    <dgm:cxn modelId="{C5543AEF-2349-4CAF-AAAD-4D5A5D85E325}" type="presParOf" srcId="{EE37AD1B-0EB7-DF42-9893-65A3196F7429}" destId="{1FC63335-C63F-B24A-9224-ADC3A6CFA82A}" srcOrd="1" destOrd="0" presId="urn:microsoft.com/office/officeart/2005/8/layout/radial5"/>
    <dgm:cxn modelId="{4B0EE252-93F1-4D3F-8AE3-05F4F43D11F5}" type="presParOf" srcId="{1FC63335-C63F-B24A-9224-ADC3A6CFA82A}" destId="{638F287C-D1F8-D443-B9F9-75DC78CBC0F4}" srcOrd="0" destOrd="0" presId="urn:microsoft.com/office/officeart/2005/8/layout/radial5"/>
    <dgm:cxn modelId="{C6DBC094-F593-477B-89F5-32D080AC5C54}" type="presParOf" srcId="{EE37AD1B-0EB7-DF42-9893-65A3196F7429}" destId="{8AD6D3EA-545F-3748-A713-E4A72CFF4B24}" srcOrd="2" destOrd="0" presId="urn:microsoft.com/office/officeart/2005/8/layout/radial5"/>
    <dgm:cxn modelId="{99B4AEBD-753A-4951-A469-80FF6F989386}" type="presParOf" srcId="{EE37AD1B-0EB7-DF42-9893-65A3196F7429}" destId="{5E73E520-53AF-5842-82C9-D186CF2B8FCD}" srcOrd="3" destOrd="0" presId="urn:microsoft.com/office/officeart/2005/8/layout/radial5"/>
    <dgm:cxn modelId="{60FCD040-1C4C-4C7E-9688-A0715B813A6D}" type="presParOf" srcId="{5E73E520-53AF-5842-82C9-D186CF2B8FCD}" destId="{FA50726B-00EB-1E43-86BC-E54B3A8D9ABC}" srcOrd="0" destOrd="0" presId="urn:microsoft.com/office/officeart/2005/8/layout/radial5"/>
    <dgm:cxn modelId="{5AD418A2-7354-455E-B0A1-DACA204ABA31}" type="presParOf" srcId="{EE37AD1B-0EB7-DF42-9893-65A3196F7429}" destId="{DD300365-9ACD-864C-89A3-FFD9B6FCC11A}" srcOrd="4" destOrd="0" presId="urn:microsoft.com/office/officeart/2005/8/layout/radial5"/>
    <dgm:cxn modelId="{324391C3-DC42-4CC8-B4BA-B92A6097F51F}" type="presParOf" srcId="{EE37AD1B-0EB7-DF42-9893-65A3196F7429}" destId="{31F5890F-7090-E945-AED8-408291B75B7F}" srcOrd="5" destOrd="0" presId="urn:microsoft.com/office/officeart/2005/8/layout/radial5"/>
    <dgm:cxn modelId="{B3EDA823-8CC9-4DD6-BA4B-B5ED9A1749FF}" type="presParOf" srcId="{31F5890F-7090-E945-AED8-408291B75B7F}" destId="{D10C5FB1-E2E4-CA4E-8243-01B7F4E91386}" srcOrd="0" destOrd="0" presId="urn:microsoft.com/office/officeart/2005/8/layout/radial5"/>
    <dgm:cxn modelId="{E47A9A59-7047-434D-95A1-5BFDB4C7D3E9}" type="presParOf" srcId="{EE37AD1B-0EB7-DF42-9893-65A3196F7429}" destId="{4BB1F33B-E24E-DC43-8DC1-E051CB788C05}" srcOrd="6" destOrd="0" presId="urn:microsoft.com/office/officeart/2005/8/layout/radial5"/>
    <dgm:cxn modelId="{62BFE869-54B4-40DD-8085-37747C25DD8B}" type="presParOf" srcId="{EE37AD1B-0EB7-DF42-9893-65A3196F7429}" destId="{5B994310-B64B-6746-A4B2-3B966472C07A}" srcOrd="7" destOrd="0" presId="urn:microsoft.com/office/officeart/2005/8/layout/radial5"/>
    <dgm:cxn modelId="{D63E7C27-4175-4F7E-BC7A-95D6DADD524C}" type="presParOf" srcId="{5B994310-B64B-6746-A4B2-3B966472C07A}" destId="{704524D8-1EFF-314E-A9F3-2EA64B698FC6}" srcOrd="0" destOrd="0" presId="urn:microsoft.com/office/officeart/2005/8/layout/radial5"/>
    <dgm:cxn modelId="{5135E446-58CF-4F7C-86F0-57E9F9385A1B}" type="presParOf" srcId="{EE37AD1B-0EB7-DF42-9893-65A3196F7429}" destId="{CABF8397-9165-4547-9263-49A772FE3D2B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2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t" anchorCtr="0" compatLnSpc="1">
            <a:prstTxWarp prst="textNoShape">
              <a:avLst/>
            </a:prstTxWarp>
          </a:bodyPr>
          <a:lstStyle>
            <a:lvl1pPr defTabSz="935294"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6904" y="2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t" anchorCtr="0" compatLnSpc="1">
            <a:prstTxWarp prst="textNoShape">
              <a:avLst/>
            </a:prstTxWarp>
          </a:bodyPr>
          <a:lstStyle>
            <a:lvl1pPr algn="r" defTabSz="935294"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8843806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b" anchorCtr="0" compatLnSpc="1">
            <a:prstTxWarp prst="textNoShape">
              <a:avLst/>
            </a:prstTxWarp>
          </a:bodyPr>
          <a:lstStyle>
            <a:lvl1pPr defTabSz="935294"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6904" y="8843806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b" anchorCtr="0" compatLnSpc="1">
            <a:prstTxWarp prst="textNoShape">
              <a:avLst/>
            </a:prstTxWarp>
          </a:bodyPr>
          <a:lstStyle>
            <a:lvl1pPr algn="r" defTabSz="935294">
              <a:defRPr sz="1200" b="0"/>
            </a:lvl1pPr>
          </a:lstStyle>
          <a:p>
            <a:pPr>
              <a:defRPr/>
            </a:pPr>
            <a:fld id="{DA8AD1C6-87F1-40B2-815B-31A94D169E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19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2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t" anchorCtr="0" compatLnSpc="1">
            <a:prstTxWarp prst="textNoShape">
              <a:avLst/>
            </a:prstTxWarp>
          </a:bodyPr>
          <a:lstStyle>
            <a:lvl1pPr defTabSz="935294"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67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6904" y="2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t" anchorCtr="0" compatLnSpc="1">
            <a:prstTxWarp prst="textNoShape">
              <a:avLst/>
            </a:prstTxWarp>
          </a:bodyPr>
          <a:lstStyle>
            <a:lvl1pPr algn="r" defTabSz="935294"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5863" y="700088"/>
            <a:ext cx="4654550" cy="34909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67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5175" y="4421113"/>
            <a:ext cx="5612763" cy="4189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467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8843806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b" anchorCtr="0" compatLnSpc="1">
            <a:prstTxWarp prst="textNoShape">
              <a:avLst/>
            </a:prstTxWarp>
          </a:bodyPr>
          <a:lstStyle>
            <a:lvl1pPr defTabSz="935294">
              <a:defRPr sz="1200" b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67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6904" y="8843806"/>
            <a:ext cx="3044615" cy="463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566" tIns="46783" rIns="93566" bIns="46783" numCol="1" anchor="b" anchorCtr="0" compatLnSpc="1">
            <a:prstTxWarp prst="textNoShape">
              <a:avLst/>
            </a:prstTxWarp>
          </a:bodyPr>
          <a:lstStyle>
            <a:lvl1pPr algn="r" defTabSz="935294">
              <a:defRPr sz="1200" b="0"/>
            </a:lvl1pPr>
          </a:lstStyle>
          <a:p>
            <a:pPr>
              <a:defRPr/>
            </a:pPr>
            <a:fld id="{72C602A4-17AF-4141-9FD4-6C67B063566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6379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2849"/>
            <a:fld id="{EE95989B-16B6-4D37-ACE7-7DE15C69AA38}" type="slidenum">
              <a:rPr lang="en-US" smtClean="0">
                <a:solidFill>
                  <a:srgbClr val="000000"/>
                </a:solidFill>
              </a:rPr>
              <a:pPr defTabSz="942849"/>
              <a:t>2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4275" y="698500"/>
            <a:ext cx="4654550" cy="3490913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MS PGothic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64081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neral Fund supports Office</a:t>
            </a:r>
            <a:r>
              <a:rPr lang="en-US" baseline="0" dirty="0" smtClean="0"/>
              <a:t> of the Commissioner and Office of Transportation.  General Fund is trending over budget due to emergency projects:  Piedmont and Morningside; Perry Blvd; MLK and </a:t>
            </a:r>
            <a:r>
              <a:rPr lang="en-US" baseline="0" dirty="0" err="1" smtClean="0"/>
              <a:t>Lynhurst</a:t>
            </a:r>
            <a:r>
              <a:rPr lang="en-US" baseline="0" dirty="0" smtClean="0"/>
              <a:t> projec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C602A4-17AF-4141-9FD4-6C67B063566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128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C602A4-17AF-4141-9FD4-6C67B063566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848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defTabSz="859286"/>
            <a:r>
              <a:rPr lang="en-US" b="1" dirty="0" smtClean="0"/>
              <a:t>SRs are created from 311 (Siebel</a:t>
            </a:r>
            <a:r>
              <a:rPr lang="en-US" b="1" baseline="0" dirty="0" smtClean="0"/>
              <a:t> system)</a:t>
            </a:r>
            <a:r>
              <a:rPr lang="en-US" b="1" dirty="0" smtClean="0"/>
              <a:t> and</a:t>
            </a:r>
            <a:r>
              <a:rPr lang="en-US" b="1" baseline="0" dirty="0" smtClean="0"/>
              <a:t> DPW (Hansen system).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2327139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human resour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19096" y="176467"/>
            <a:ext cx="8305801" cy="272209"/>
          </a:xfrm>
          <a:prstGeom prst="rect">
            <a:avLst/>
          </a:prstGeom>
          <a:solidFill>
            <a:srgbClr val="002060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UMAN RESOURCES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1480" y="6359376"/>
            <a:ext cx="4587240" cy="3919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ER 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5200" y="3503613"/>
            <a:ext cx="6123939" cy="60928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57200" y="213055"/>
            <a:ext cx="8204200" cy="22721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665956" y="157384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CUSTOMER SERVICE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EETC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200" y="213055"/>
            <a:ext cx="8204200" cy="22721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665956" y="157384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ATLANTA STREETCAR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888692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310" y="93135"/>
            <a:ext cx="6773243" cy="432854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480" y="6359376"/>
            <a:ext cx="4587240" cy="3919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5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1480" y="6359376"/>
            <a:ext cx="4587240" cy="3919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480" y="6359376"/>
            <a:ext cx="4587240" cy="3919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480" y="6359376"/>
            <a:ext cx="4587240" cy="3919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08107"/>
            <a:ext cx="4040188" cy="5160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41533"/>
            <a:ext cx="4040188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333507"/>
            <a:ext cx="4041775" cy="4906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941533"/>
            <a:ext cx="4041775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308100" y="152400"/>
            <a:ext cx="7378700" cy="96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eet_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82600" y="233681"/>
            <a:ext cx="8204200" cy="257386"/>
          </a:xfrm>
          <a:prstGeom prst="rect">
            <a:avLst/>
          </a:prstGeom>
          <a:solidFill>
            <a:srgbClr val="DE5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699453" y="213362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FLEET SERVICE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604199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33503"/>
            <a:ext cx="8229600" cy="20955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3543305"/>
            <a:ext cx="8229600" cy="216950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308100" y="152400"/>
            <a:ext cx="7378700" cy="96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Typ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ResurgenscolorDWM with Splash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454900" y="6197600"/>
            <a:ext cx="15367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4"/>
          <p:cNvCxnSpPr/>
          <p:nvPr userDrawn="1"/>
        </p:nvCxnSpPr>
        <p:spPr>
          <a:xfrm flipV="1">
            <a:off x="930275" y="749300"/>
            <a:ext cx="82296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1697" y="856597"/>
            <a:ext cx="7930056" cy="5276193"/>
          </a:xfrm>
          <a:prstGeom prst="rect">
            <a:avLst/>
          </a:prstGeom>
        </p:spPr>
        <p:txBody>
          <a:bodyPr/>
          <a:lstStyle>
            <a:lvl1pPr>
              <a:buClr>
                <a:srgbClr val="C00000"/>
              </a:buClr>
              <a:defRPr sz="2800">
                <a:solidFill>
                  <a:srgbClr val="336699"/>
                </a:solidFill>
                <a:latin typeface="Arial Narrow" pitchFamily="34" charset="0"/>
              </a:defRPr>
            </a:lvl1pPr>
            <a:lvl2pPr>
              <a:spcBef>
                <a:spcPts val="300"/>
              </a:spcBef>
              <a:buClr>
                <a:srgbClr val="89C58F"/>
              </a:buClr>
              <a:buSzPct val="110000"/>
              <a:defRPr sz="2400">
                <a:solidFill>
                  <a:srgbClr val="336699"/>
                </a:solidFill>
                <a:latin typeface="Arial Narrow" pitchFamily="34" charset="0"/>
              </a:defRPr>
            </a:lvl2pPr>
            <a:lvl3pPr>
              <a:spcBef>
                <a:spcPts val="300"/>
              </a:spcBef>
              <a:buClr>
                <a:srgbClr val="FFC000"/>
              </a:buClr>
              <a:buSzPct val="80000"/>
              <a:buFont typeface="Wingdings" pitchFamily="2" charset="2"/>
              <a:buChar char="Ø"/>
              <a:defRPr sz="1800" i="1">
                <a:solidFill>
                  <a:srgbClr val="336699"/>
                </a:solidFill>
                <a:latin typeface="Arial Narrow" pitchFamily="34" charset="0"/>
              </a:defRPr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94025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2" y="819151"/>
            <a:ext cx="2697163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auto">
          <a:xfrm>
            <a:off x="-66206" y="381003"/>
            <a:ext cx="2870948" cy="918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algn="r">
              <a:defRPr lang="en-JM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JM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498603"/>
            <a:ext cx="8229600" cy="411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 marL="257175" indent="-257175">
              <a:buSzPct val="83000"/>
              <a:buFont typeface="Wingdings" charset="2"/>
              <a:buChar char="u"/>
              <a:defRPr/>
            </a:lvl1pPr>
            <a:lvl2pPr marL="557213" indent="-214313">
              <a:buSzPct val="83000"/>
              <a:buFont typeface="Wingdings" charset="2"/>
              <a:buChar char="u"/>
              <a:defRPr/>
            </a:lvl2pPr>
            <a:lvl3pPr marL="857250" indent="-171450">
              <a:buSzPct val="83000"/>
              <a:buFont typeface="Wingdings" charset="2"/>
              <a:buChar char="u"/>
              <a:defRPr/>
            </a:lvl3pPr>
            <a:lvl4pPr marL="1200150" indent="-171450">
              <a:buSzPct val="83000"/>
              <a:buFont typeface="Wingdings" charset="2"/>
              <a:buChar char="u"/>
              <a:defRPr/>
            </a:lvl4pPr>
            <a:lvl5pPr marL="1543050" indent="-171450">
              <a:buSzPct val="83000"/>
              <a:buFont typeface="Wingdings" charset="2"/>
              <a:buChar char="u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JM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393113" y="6402920"/>
            <a:ext cx="323850" cy="22013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CC7BC5-8D29-1E41-8AC8-C7DC0F430BAF}" type="slidenum">
              <a:rPr lang="en-JM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JM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373024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ncial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199" y="233680"/>
            <a:ext cx="8246534" cy="31792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722312" y="213055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FINANCIAL MANAGEMENT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925336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leted Council Reque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200" y="233681"/>
            <a:ext cx="8212667" cy="24045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722312" y="213055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COMPLETED</a:t>
            </a:r>
            <a:r>
              <a:rPr lang="en-US" sz="1600" baseline="0" dirty="0" smtClean="0">
                <a:solidFill>
                  <a:schemeClr val="bg1"/>
                </a:solidFill>
              </a:rPr>
              <a:t> CITY  COUNCIL REQUEST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354905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leet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82600" y="233681"/>
            <a:ext cx="8204200" cy="25738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699453" y="213362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FLEET SERVICE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368240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247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410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7913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2703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82600" y="233681"/>
            <a:ext cx="8204200" cy="25738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928958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3931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1433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2763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2539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033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5515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0053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16900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6473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3547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e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200" y="213055"/>
            <a:ext cx="8204200" cy="22721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665956" y="157384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AFETY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147382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211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1642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0851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9102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960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5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5785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672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572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ID WA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200" y="213055"/>
            <a:ext cx="8204200" cy="22721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665956" y="157384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OLID WASTE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923828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199" y="233680"/>
            <a:ext cx="8246534" cy="31792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722312" y="213055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FINANCIAL MANAGEMENT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566836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57200" y="233681"/>
            <a:ext cx="8212667" cy="240452"/>
          </a:xfrm>
          <a:prstGeom prst="rect">
            <a:avLst/>
          </a:prstGeom>
          <a:solidFill>
            <a:srgbClr val="6B1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722312" y="213055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COMPLETED</a:t>
            </a:r>
            <a:r>
              <a:rPr lang="en-US" sz="1600" baseline="0" dirty="0" smtClean="0">
                <a:solidFill>
                  <a:schemeClr val="bg1"/>
                </a:solidFill>
              </a:rPr>
              <a:t> CITY  COUNCIL REQUEST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66593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inancial up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32460" y="0"/>
            <a:ext cx="7659687" cy="338554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FINANCIAL UPDATE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ransportation up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57200" y="153818"/>
            <a:ext cx="8203915" cy="338555"/>
          </a:xfrm>
          <a:prstGeom prst="rect">
            <a:avLst/>
          </a:prstGeom>
          <a:solidFill>
            <a:srgbClr val="95BB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786777" y="153819"/>
            <a:ext cx="76596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TRANSPORTATION UPDATE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32460" y="3503613"/>
            <a:ext cx="7726680" cy="609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127760"/>
            <a:ext cx="8229600" cy="5013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1" name="Title 1"/>
          <p:cNvSpPr txBox="1">
            <a:spLocks/>
          </p:cNvSpPr>
          <p:nvPr userDrawn="1"/>
        </p:nvSpPr>
        <p:spPr bwMode="auto">
          <a:xfrm>
            <a:off x="962774" y="455965"/>
            <a:ext cx="2126223" cy="422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US" sz="100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56602" y="6395532"/>
            <a:ext cx="7830198" cy="252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en-US" sz="900" cap="all" dirty="0" smtClean="0">
                <a:solidFill>
                  <a:schemeClr val="bg1">
                    <a:lumMod val="65000"/>
                  </a:schemeClr>
                </a:solidFill>
              </a:rPr>
              <a:t>Department</a:t>
            </a:r>
            <a:r>
              <a:rPr lang="en-US" sz="900" cap="all" baseline="0" dirty="0" smtClean="0">
                <a:solidFill>
                  <a:schemeClr val="bg1">
                    <a:lumMod val="65000"/>
                  </a:schemeClr>
                </a:solidFill>
              </a:rPr>
              <a:t> of Public Works                                                         </a:t>
            </a:r>
            <a:r>
              <a:rPr lang="en-US" sz="900" cap="none" baseline="0" dirty="0" smtClean="0">
                <a:solidFill>
                  <a:schemeClr val="bg1">
                    <a:lumMod val="65000"/>
                  </a:schemeClr>
                </a:solidFill>
              </a:rPr>
              <a:t>Mayor </a:t>
            </a:r>
            <a:r>
              <a:rPr lang="en-US" sz="900" cap="none" baseline="0" dirty="0" err="1" smtClean="0">
                <a:solidFill>
                  <a:schemeClr val="bg1">
                    <a:lumMod val="65000"/>
                  </a:schemeClr>
                </a:solidFill>
              </a:rPr>
              <a:t>Kasim</a:t>
            </a:r>
            <a:r>
              <a:rPr lang="en-US" sz="900" cap="none" baseline="0" dirty="0" smtClean="0">
                <a:solidFill>
                  <a:schemeClr val="bg1">
                    <a:lumMod val="65000"/>
                  </a:schemeClr>
                </a:solidFill>
              </a:rPr>
              <a:t> Reed    |    </a:t>
            </a:r>
            <a:r>
              <a:rPr lang="en-US" sz="900" b="0" dirty="0" smtClean="0">
                <a:solidFill>
                  <a:schemeClr val="bg1">
                    <a:lumMod val="65000"/>
                  </a:schemeClr>
                </a:solidFill>
              </a:rPr>
              <a:t>William M. Johnson,</a:t>
            </a:r>
            <a:r>
              <a:rPr lang="en-US" sz="900" b="0" baseline="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900" b="0" i="0" baseline="0" dirty="0" smtClean="0">
                <a:solidFill>
                  <a:schemeClr val="bg1">
                    <a:lumMod val="65000"/>
                  </a:schemeClr>
                </a:solidFill>
              </a:rPr>
              <a:t>Commissioner </a:t>
            </a:r>
            <a:r>
              <a:rPr lang="en-US" sz="900" b="0" dirty="0" smtClean="0">
                <a:solidFill>
                  <a:schemeClr val="bg1">
                    <a:lumMod val="65000"/>
                  </a:schemeClr>
                </a:solidFill>
              </a:rPr>
              <a:t>   </a:t>
            </a:r>
            <a:r>
              <a:rPr lang="en-US" sz="900" b="0" dirty="0" smtClean="0">
                <a:solidFill>
                  <a:srgbClr val="A6A6A6"/>
                </a:solidFill>
              </a:rPr>
              <a:t>|   </a:t>
            </a:r>
            <a:r>
              <a:rPr lang="en-US" sz="900" b="0" kern="1200" dirty="0" smtClean="0">
                <a:solidFill>
                  <a:srgbClr val="A6A6A6"/>
                </a:solidFill>
                <a:latin typeface="+mn-lt"/>
                <a:ea typeface="+mn-ea"/>
                <a:cs typeface="Arial"/>
              </a:rPr>
              <a:t>Larry King,</a:t>
            </a:r>
            <a:r>
              <a:rPr lang="en-US" sz="900" b="0" kern="1200" baseline="0" dirty="0" smtClean="0">
                <a:solidFill>
                  <a:srgbClr val="A6A6A6"/>
                </a:solidFill>
                <a:latin typeface="+mn-lt"/>
                <a:ea typeface="+mn-ea"/>
                <a:cs typeface="Arial"/>
              </a:rPr>
              <a:t> </a:t>
            </a:r>
            <a:r>
              <a:rPr lang="en-US" sz="900" b="0" i="0" kern="1200" baseline="0" dirty="0" smtClean="0">
                <a:solidFill>
                  <a:srgbClr val="A6A6A6"/>
                </a:solidFill>
                <a:latin typeface="+mn-lt"/>
                <a:ea typeface="+mn-ea"/>
                <a:cs typeface="Arial"/>
              </a:rPr>
              <a:t>Deputy Commissioner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36" y="6290515"/>
            <a:ext cx="350361" cy="3570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57" r:id="rId2"/>
    <p:sldLayoutId id="2147484276" r:id="rId3"/>
    <p:sldLayoutId id="2147484258" r:id="rId4"/>
    <p:sldLayoutId id="2147484262" r:id="rId5"/>
    <p:sldLayoutId id="2147484259" r:id="rId6"/>
    <p:sldLayoutId id="2147484260" r:id="rId7"/>
    <p:sldLayoutId id="2147484227" r:id="rId8"/>
    <p:sldLayoutId id="2147484228" r:id="rId9"/>
    <p:sldLayoutId id="2147484229" r:id="rId10"/>
    <p:sldLayoutId id="2147484230" r:id="rId11"/>
    <p:sldLayoutId id="2147484231" r:id="rId12"/>
    <p:sldLayoutId id="2147484263" r:id="rId13"/>
    <p:sldLayoutId id="2147484232" r:id="rId14"/>
    <p:sldLayoutId id="2147484233" r:id="rId15"/>
    <p:sldLayoutId id="2147484234" r:id="rId16"/>
    <p:sldLayoutId id="2147484235" r:id="rId17"/>
    <p:sldLayoutId id="2147484236" r:id="rId18"/>
    <p:sldLayoutId id="2147484238" r:id="rId19"/>
    <p:sldLayoutId id="2147484239" r:id="rId20"/>
    <p:sldLayoutId id="2147484254" r:id="rId21"/>
    <p:sldLayoutId id="2147484278" r:id="rId22"/>
    <p:sldLayoutId id="2147484279" r:id="rId23"/>
    <p:sldLayoutId id="2147484280" r:id="rId24"/>
    <p:sldLayoutId id="2147484281" r:id="rId25"/>
  </p:sldLayoutIdLst>
  <p:transition spd="med"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92" indent="-3428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24BF8B-5FF2-415D-8AC7-C347BF660C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542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  <p:sldLayoutId id="2147484270" r:id="rId6"/>
    <p:sldLayoutId id="2147484271" r:id="rId7"/>
    <p:sldLayoutId id="2147484272" r:id="rId8"/>
    <p:sldLayoutId id="2147484273" r:id="rId9"/>
    <p:sldLayoutId id="2147484274" r:id="rId10"/>
    <p:sldLayoutId id="2147484275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050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  <p:sldLayoutId id="2147484249" r:id="rId8"/>
    <p:sldLayoutId id="2147484250" r:id="rId9"/>
    <p:sldLayoutId id="2147484251" r:id="rId10"/>
    <p:sldLayoutId id="2147484252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41"/>
          <a:stretch/>
        </p:blipFill>
        <p:spPr>
          <a:xfrm>
            <a:off x="-6773" y="-83876"/>
            <a:ext cx="9150773" cy="6941876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-6773" y="3711195"/>
            <a:ext cx="9214781" cy="1488016"/>
          </a:xfrm>
          <a:prstGeom prst="rect">
            <a:avLst/>
          </a:prstGeom>
          <a:solidFill>
            <a:srgbClr val="FFFFFF">
              <a:alpha val="6588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613" y="1850825"/>
            <a:ext cx="1301469" cy="1326238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016732" y="3549838"/>
            <a:ext cx="7668490" cy="79581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90000"/>
              </a:lnSpc>
            </a:pPr>
            <a:endParaRPr lang="en-US" sz="2800" dirty="0" smtClean="0">
              <a:cs typeface="Arial"/>
            </a:endParaRPr>
          </a:p>
          <a:p>
            <a:pPr algn="ctr">
              <a:lnSpc>
                <a:spcPct val="90000"/>
              </a:lnSpc>
            </a:pPr>
            <a:r>
              <a:rPr lang="en-US" sz="2800" dirty="0" smtClean="0">
                <a:cs typeface="Arial"/>
              </a:rPr>
              <a:t>Department </a:t>
            </a:r>
            <a:r>
              <a:rPr lang="en-US" sz="2800" dirty="0">
                <a:cs typeface="Arial"/>
              </a:rPr>
              <a:t>of Public Works</a:t>
            </a:r>
            <a:r>
              <a:rPr lang="en-US" sz="2000" dirty="0">
                <a:cs typeface="Arial"/>
              </a:rPr>
              <a:t/>
            </a:r>
            <a:br>
              <a:rPr lang="en-US" sz="2000" dirty="0">
                <a:cs typeface="Arial"/>
              </a:rPr>
            </a:br>
            <a:r>
              <a:rPr lang="en-US" sz="1600" b="0" dirty="0">
                <a:cs typeface="Arial"/>
              </a:rPr>
              <a:t>Atlanta City Council  |  City Utilities </a:t>
            </a:r>
            <a:r>
              <a:rPr lang="en-US" sz="1600" b="0" dirty="0" smtClean="0">
                <a:cs typeface="Arial"/>
              </a:rPr>
              <a:t>Committee</a:t>
            </a:r>
          </a:p>
          <a:p>
            <a:pPr algn="ctr">
              <a:lnSpc>
                <a:spcPct val="90000"/>
              </a:lnSpc>
            </a:pPr>
            <a:r>
              <a:rPr lang="en-US" sz="1600" b="0" dirty="0" smtClean="0">
                <a:cs typeface="Arial"/>
              </a:rPr>
              <a:t>Departmental quarterly update</a:t>
            </a:r>
          </a:p>
          <a:p>
            <a:pPr algn="ctr">
              <a:lnSpc>
                <a:spcPct val="90000"/>
              </a:lnSpc>
            </a:pPr>
            <a:r>
              <a:rPr lang="en-US" sz="1600" b="0" dirty="0" smtClean="0">
                <a:cs typeface="Arial"/>
              </a:rPr>
              <a:t>February 28, 2017</a:t>
            </a:r>
          </a:p>
          <a:p>
            <a:pPr algn="ctr">
              <a:lnSpc>
                <a:spcPct val="90000"/>
              </a:lnSpc>
            </a:pPr>
            <a:endParaRPr lang="en-US" sz="1600" b="0" dirty="0"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02772" y="5476980"/>
            <a:ext cx="2325479" cy="752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Kasim Reed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Mayor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473870" y="6098323"/>
            <a:ext cx="2808855" cy="5091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William M. Johnson</a:t>
            </a:r>
          </a:p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Commissioner 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337457" y="5958604"/>
            <a:ext cx="2770909" cy="713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Larry King</a:t>
            </a:r>
          </a:p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Deputy Commissioner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896" y="555314"/>
            <a:ext cx="7726680" cy="609283"/>
          </a:xfrm>
        </p:spPr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PERFORMANCE METRICS</a:t>
            </a:r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4597"/>
            <a:ext cx="8622706" cy="5648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149145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426" y="747243"/>
            <a:ext cx="7657240" cy="432854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02108" y="463834"/>
            <a:ext cx="7726680" cy="6092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PERFORMANCE METRICS</a:t>
            </a:r>
            <a:endParaRPr lang="en-US" sz="2000" dirty="0">
              <a:solidFill>
                <a:srgbClr val="002060"/>
              </a:solidFill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132001"/>
              </p:ext>
            </p:extLst>
          </p:nvPr>
        </p:nvGraphicFramePr>
        <p:xfrm>
          <a:off x="277426" y="1026795"/>
          <a:ext cx="8678568" cy="431252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79092"/>
                <a:gridCol w="1080655"/>
                <a:gridCol w="1163781"/>
                <a:gridCol w="1062779"/>
                <a:gridCol w="1164087"/>
                <a:gridCol w="1164087"/>
                <a:gridCol w="1164087"/>
              </a:tblGrid>
              <a:tr h="56188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RFORMANCE </a:t>
                      </a:r>
                    </a:p>
                    <a:p>
                      <a:pPr algn="ctr"/>
                      <a:r>
                        <a:rPr lang="en-US" sz="1400" dirty="0" smtClean="0"/>
                        <a:t>MEASURE</a:t>
                      </a:r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INITIATIV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16 TARGE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Q 2016 ACTU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Q 2016 ACTU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Q 2016 ACTU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Q 2016 ACTUAL</a:t>
                      </a:r>
                      <a:endParaRPr lang="en-US" sz="1400" dirty="0"/>
                    </a:p>
                  </a:txBody>
                  <a:tcPr/>
                </a:tc>
              </a:tr>
              <a:tr h="83608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rcent</a:t>
                      </a:r>
                      <a:r>
                        <a:rPr lang="en-US" sz="1400" baseline="0" dirty="0" smtClean="0"/>
                        <a:t> of Single Family Garbage Pickups Collected on Scheduled Da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erit and Excellen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%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2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80%</a:t>
                      </a:r>
                      <a:endParaRPr lang="en-US" sz="1400" b="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89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1%</a:t>
                      </a:r>
                      <a:endParaRPr lang="en-US" sz="1400" dirty="0"/>
                    </a:p>
                  </a:txBody>
                  <a:tcPr/>
                </a:tc>
              </a:tr>
              <a:tr h="112935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rcent of Bulk Rubbish Pickups Collected</a:t>
                      </a:r>
                      <a:r>
                        <a:rPr lang="en-US" sz="1400" baseline="0" dirty="0" smtClean="0"/>
                        <a:t> as Requested/Scheduled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erit and</a:t>
                      </a:r>
                      <a:r>
                        <a:rPr lang="en-US" sz="1400" baseline="0" dirty="0" smtClean="0"/>
                        <a:t> Excellenc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8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7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5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7%</a:t>
                      </a:r>
                      <a:endParaRPr lang="en-US" sz="1400" dirty="0"/>
                    </a:p>
                  </a:txBody>
                  <a:tcPr/>
                </a:tc>
              </a:tr>
              <a:tr h="83608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rcent of Yard Trimming Pickups Collected on Scheduled</a:t>
                      </a:r>
                      <a:r>
                        <a:rPr lang="en-US" sz="1400" baseline="0" dirty="0" smtClean="0"/>
                        <a:t> Da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erit and Excellence</a:t>
                      </a:r>
                    </a:p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70.12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67.55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83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3%</a:t>
                      </a:r>
                      <a:endParaRPr lang="en-US" sz="1400" dirty="0"/>
                    </a:p>
                  </a:txBody>
                  <a:tcPr/>
                </a:tc>
              </a:tr>
              <a:tr h="66443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ercent Recycling Pickups Collected on Scheduled Da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Merit and Excellence</a:t>
                      </a:r>
                    </a:p>
                    <a:p>
                      <a:pPr algn="ctr"/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%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85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6.69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84%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2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6" name="Rectangle 15"/>
          <p:cNvSpPr/>
          <p:nvPr/>
        </p:nvSpPr>
        <p:spPr>
          <a:xfrm>
            <a:off x="1820254" y="5511743"/>
            <a:ext cx="47258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prstClr val="black"/>
                </a:solidFill>
                <a:latin typeface="+mn-lt"/>
                <a:cs typeface="+mn-cs"/>
              </a:rPr>
              <a:t>The Office of Solid Waste Services consists of Education &amp; Enforcement, Right-of-way Maintenance, Residential Street Sweeping, and weekly </a:t>
            </a:r>
            <a:endParaRPr lang="en-US" sz="1200" b="0" dirty="0" smtClean="0">
              <a:solidFill>
                <a:prstClr val="black"/>
              </a:solidFill>
              <a:latin typeface="+mn-lt"/>
              <a:cs typeface="+mn-cs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 smtClean="0">
                <a:solidFill>
                  <a:prstClr val="black"/>
                </a:solidFill>
                <a:latin typeface="+mn-lt"/>
                <a:cs typeface="+mn-cs"/>
              </a:rPr>
              <a:t>pick-up </a:t>
            </a:r>
            <a:r>
              <a:rPr lang="en-US" sz="1200" b="0" dirty="0">
                <a:solidFill>
                  <a:prstClr val="black"/>
                </a:solidFill>
                <a:latin typeface="+mn-lt"/>
                <a:cs typeface="+mn-cs"/>
              </a:rPr>
              <a:t>of household garbage, recycling, and yard trimmings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0083" y="5524230"/>
            <a:ext cx="972116" cy="82546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6203" y="5533733"/>
            <a:ext cx="1131420" cy="815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613216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6715" y="476142"/>
            <a:ext cx="7726680" cy="6092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OPERATING HIGHLIGHTS FOR ATLANTA STATS</a:t>
            </a:r>
            <a:endParaRPr lang="en-US" sz="2000" dirty="0">
              <a:solidFill>
                <a:srgbClr val="00206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743183"/>
              </p:ext>
            </p:extLst>
          </p:nvPr>
        </p:nvGraphicFramePr>
        <p:xfrm>
          <a:off x="156715" y="1315504"/>
          <a:ext cx="8808580" cy="4725744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1761716"/>
                <a:gridCol w="1761716"/>
                <a:gridCol w="1761716"/>
                <a:gridCol w="1761716"/>
                <a:gridCol w="1761716"/>
              </a:tblGrid>
              <a:tr h="47876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scription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Q Percent SLA Met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Q Percent SLA Met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Q Percent SLA Met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Q Percent SLA Met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in Delivery and Pick-Up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5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77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96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77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ad Animal Removal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66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67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Illegal Dumpin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 78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8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issed Collection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68.89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73.09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4.09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6.97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ew Backyard Servic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18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0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OW Maintenan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51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58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18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9.48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60671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Solid Waste Services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6.20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4.11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7.32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8.45%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627" y="1853073"/>
            <a:ext cx="195089" cy="1950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0060" y="1838113"/>
            <a:ext cx="195089" cy="19508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92" y="1855159"/>
            <a:ext cx="195089" cy="1950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30" y="1855160"/>
            <a:ext cx="195089" cy="1950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627" y="2428431"/>
            <a:ext cx="195089" cy="19508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0060" y="2428432"/>
            <a:ext cx="195089" cy="19508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92" y="2428432"/>
            <a:ext cx="195089" cy="19508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27" y="2428430"/>
            <a:ext cx="195089" cy="19508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627" y="3054447"/>
            <a:ext cx="195089" cy="19508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0059" y="3058612"/>
            <a:ext cx="195089" cy="1950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92" y="3054448"/>
            <a:ext cx="195089" cy="19508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27" y="3054448"/>
            <a:ext cx="195089" cy="19508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9626" y="3680463"/>
            <a:ext cx="195089" cy="18879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0058" y="3648931"/>
            <a:ext cx="195089" cy="17558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90" y="3680463"/>
            <a:ext cx="195089" cy="19508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22" y="3680463"/>
            <a:ext cx="195089" cy="19508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625" y="4306481"/>
            <a:ext cx="195089" cy="19508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0057" y="4306481"/>
            <a:ext cx="195089" cy="19508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89" y="4306478"/>
            <a:ext cx="195089" cy="19508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21" y="4306478"/>
            <a:ext cx="195089" cy="19508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9624" y="4881837"/>
            <a:ext cx="195089" cy="195089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0056" y="4896800"/>
            <a:ext cx="195089" cy="195089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89" y="4879751"/>
            <a:ext cx="195089" cy="19508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20" y="4879748"/>
            <a:ext cx="195089" cy="19508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9623" y="5552220"/>
            <a:ext cx="195089" cy="170703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0055" y="5520051"/>
            <a:ext cx="195089" cy="17070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489" y="5508852"/>
            <a:ext cx="195089" cy="195089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0919" y="5495665"/>
            <a:ext cx="195089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039347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359" y="413606"/>
            <a:ext cx="7726680" cy="609283"/>
          </a:xfrm>
          <a:ln>
            <a:noFill/>
          </a:ln>
        </p:spPr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srgbClr val="002060"/>
                </a:solidFill>
              </a:rPr>
              <a:t>OPERATING HIGHLIGHTS – RECYCLING AND SUSTAINABILITY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19284" y="3118058"/>
            <a:ext cx="9163229" cy="30123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75" b="0" dirty="0">
              <a:solidFill>
                <a:prstClr val="black"/>
              </a:solidFill>
              <a:latin typeface="Calibri Light" panose="020F0302020204030204"/>
              <a:cs typeface="Calibri" pitchFamily="34" charset="0"/>
            </a:endParaRPr>
          </a:p>
          <a:p>
            <a:pPr marL="214313" lvl="0" indent="-21431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+mn-lt"/>
                <a:cs typeface="Calibri" pitchFamily="34" charset="0"/>
              </a:rPr>
              <a:t>Recycling Initiatives  </a:t>
            </a:r>
          </a:p>
          <a:p>
            <a:pPr marL="628650" lvl="1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b="0" dirty="0" err="1">
                <a:solidFill>
                  <a:prstClr val="black"/>
                </a:solidFill>
                <a:latin typeface="+mn-lt"/>
                <a:cs typeface="Calibri" pitchFamily="34" charset="0"/>
              </a:rPr>
              <a:t>Novelis</a:t>
            </a:r>
            <a:r>
              <a:rPr lang="en-US" sz="1400" b="0" dirty="0">
                <a:solidFill>
                  <a:prstClr val="black"/>
                </a:solidFill>
                <a:latin typeface="+mn-lt"/>
                <a:cs typeface="Calibri" pitchFamily="34" charset="0"/>
              </a:rPr>
              <a:t> “Recycle for Good” Campaign </a:t>
            </a:r>
          </a:p>
          <a:p>
            <a:pPr marL="342900"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Calibri" pitchFamily="34" charset="0"/>
              </a:rPr>
              <a:t>     </a:t>
            </a:r>
            <a:r>
              <a:rPr lang="en-US" sz="1400" b="0" i="1" dirty="0">
                <a:solidFill>
                  <a:prstClr val="black"/>
                </a:solidFill>
                <a:latin typeface="+mn-lt"/>
                <a:cs typeface="Calibri" pitchFamily="34" charset="0"/>
              </a:rPr>
              <a:t>Atlanta Falcons Season-Long Aluminum Collection </a:t>
            </a:r>
          </a:p>
          <a:p>
            <a:pPr marL="628650" lvl="1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Calibri" pitchFamily="34" charset="0"/>
              </a:rPr>
              <a:t>Rubicon Global Pilot – Waste Data &amp; Technology</a:t>
            </a:r>
          </a:p>
          <a:p>
            <a:pPr marL="628650" lvl="1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Calibri" pitchFamily="34" charset="0"/>
              </a:rPr>
              <a:t>“Clean Streets” Cigarette Recycling Program</a:t>
            </a:r>
          </a:p>
          <a:p>
            <a:pPr marL="214313" lvl="0" indent="-21431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+mn-lt"/>
                <a:cs typeface="Calibri" pitchFamily="34" charset="0"/>
              </a:rPr>
              <a:t>Recycling Outreach &amp; Education</a:t>
            </a:r>
            <a:endParaRPr lang="en-US" sz="1400" b="0" dirty="0">
              <a:solidFill>
                <a:prstClr val="black"/>
              </a:solidFill>
              <a:latin typeface="+mn-lt"/>
              <a:cs typeface="Calibri" pitchFamily="34" charset="0"/>
            </a:endParaRPr>
          </a:p>
          <a:p>
            <a:pPr marL="628650" lvl="1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Calibri" pitchFamily="34" charset="0"/>
              </a:rPr>
              <a:t>Monthly Atlanta Recycle Day</a:t>
            </a:r>
          </a:p>
          <a:p>
            <a:pPr marL="628650" lvl="1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Calibri" pitchFamily="34" charset="0"/>
              </a:rPr>
              <a:t>Contamination Postcards </a:t>
            </a: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0" dirty="0">
              <a:solidFill>
                <a:prstClr val="black"/>
              </a:solidFill>
              <a:latin typeface="+mn-lt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b="0" dirty="0">
              <a:solidFill>
                <a:prstClr val="black"/>
              </a:solidFill>
              <a:latin typeface="Calibri" panose="020F0502020204030204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b="0" dirty="0">
              <a:solidFill>
                <a:prstClr val="black"/>
              </a:solidFill>
              <a:latin typeface="Calibri" panose="020F0502020204030204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b="0" dirty="0">
              <a:solidFill>
                <a:prstClr val="black"/>
              </a:solidFill>
              <a:latin typeface="Calibri" panose="020F0502020204030204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b="0" dirty="0">
              <a:solidFill>
                <a:prstClr val="black"/>
              </a:solidFill>
              <a:latin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417975"/>
              </p:ext>
            </p:extLst>
          </p:nvPr>
        </p:nvGraphicFramePr>
        <p:xfrm>
          <a:off x="1794357" y="1307592"/>
          <a:ext cx="5167358" cy="1406236"/>
        </p:xfrm>
        <a:graphic>
          <a:graphicData uri="http://schemas.openxmlformats.org/drawingml/2006/table">
            <a:tbl>
              <a:tblPr firstRow="1" bandRow="1" bandCol="1">
                <a:tableStyleId>{21E4AEA4-8DFA-4A89-87EB-49C32662AFE0}</a:tableStyleId>
              </a:tblPr>
              <a:tblGrid>
                <a:gridCol w="2583679"/>
                <a:gridCol w="2583679"/>
              </a:tblGrid>
              <a:tr h="16672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Month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ounds Per Household</a:t>
                      </a:r>
                      <a:endParaRPr lang="en-US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28297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ctober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8.69</a:t>
                      </a:r>
                      <a:endParaRPr lang="en-US" sz="1200" dirty="0"/>
                    </a:p>
                  </a:txBody>
                  <a:tcPr/>
                </a:tc>
              </a:tr>
              <a:tr h="28297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ovembe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3.52</a:t>
                      </a:r>
                      <a:endParaRPr lang="en-US" sz="1200" dirty="0"/>
                    </a:p>
                  </a:txBody>
                  <a:tcPr/>
                </a:tc>
              </a:tr>
              <a:tr h="28297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Decembe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5.88</a:t>
                      </a:r>
                      <a:endParaRPr lang="en-US" sz="1200" dirty="0"/>
                    </a:p>
                  </a:txBody>
                  <a:tcPr/>
                </a:tc>
              </a:tr>
              <a:tr h="282979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erage Per</a:t>
                      </a:r>
                      <a:r>
                        <a:rPr lang="en-US" sz="1200" baseline="0" dirty="0" smtClean="0"/>
                        <a:t> Month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6.03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2160291" y="649085"/>
            <a:ext cx="4597637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Recycling Data</a:t>
            </a:r>
            <a:endParaRPr lang="en-US" sz="1400" dirty="0">
              <a:solidFill>
                <a:srgbClr val="00206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807" y="5045105"/>
            <a:ext cx="2204356" cy="108531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2936" y="3204248"/>
            <a:ext cx="4485313" cy="292617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59122" y="2489218"/>
            <a:ext cx="518234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*</a:t>
            </a:r>
            <a:r>
              <a:rPr lang="en-US" sz="1100" dirty="0" smtClean="0">
                <a:solidFill>
                  <a:schemeClr val="tx1"/>
                </a:solidFill>
              </a:rPr>
              <a:t>Annual Household Goal: 400 lbs. per year. Equates to 26.12 lbs per month. 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775105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KEEP ATLANTA BEAUTIFUL COMMISSION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307648" y="616404"/>
            <a:ext cx="6400800" cy="1752600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 smtClean="0">
                <a:solidFill>
                  <a:srgbClr val="002060"/>
                </a:solidFill>
              </a:rPr>
              <a:t>Litter Abatement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93107" y="4104439"/>
            <a:ext cx="900726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en-US" sz="140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Adopt-A-Spot </a:t>
            </a: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Program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6 </a:t>
            </a:r>
            <a:r>
              <a:rPr lang="en-US" sz="140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new groups in high litter </a:t>
            </a: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areas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Cleanup </a:t>
            </a:r>
            <a:r>
              <a:rPr lang="en-US" sz="140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Supplies provided for over 30 events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</a:pPr>
            <a:endParaRPr lang="en-US" sz="1400" b="0" dirty="0" smtClean="0">
              <a:solidFill>
                <a:prstClr val="black"/>
              </a:solidFill>
              <a:latin typeface="Calibri" panose="020F0502020204030204"/>
              <a:cs typeface="+mn-cs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Neighborhood Cleanups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Cascade </a:t>
            </a:r>
            <a:r>
              <a:rPr lang="en-US" sz="1400" b="0" dirty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eights Cleanup – Partnership with DPW, Local Non-Profit, Area Businesses, Churches, &amp; APD Code </a:t>
            </a: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Enforcement</a:t>
            </a:r>
          </a:p>
          <a:p>
            <a:pPr marL="1585913" lvl="4" indent="-21431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65 Volunteers</a:t>
            </a:r>
          </a:p>
          <a:p>
            <a:pPr marL="1585913" lvl="4" indent="-214313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400" b="0" dirty="0" smtClean="0">
                <a:solidFill>
                  <a:prstClr val="black"/>
                </a:solidFill>
                <a:latin typeface="Calibri" panose="020F0502020204030204"/>
                <a:cs typeface="+mn-cs"/>
              </a:rPr>
              <a:t>2,000 </a:t>
            </a:r>
            <a:r>
              <a:rPr lang="en-US" sz="1400" b="0" dirty="0">
                <a:solidFill>
                  <a:prstClr val="black"/>
                </a:solidFill>
                <a:latin typeface="Calibri" panose="020F0502020204030204"/>
                <a:cs typeface="+mn-cs"/>
              </a:rPr>
              <a:t>Lbs. of Trash &amp; Debri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648" y="1428211"/>
            <a:ext cx="2158171" cy="15911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3217" y="1067179"/>
            <a:ext cx="3811425" cy="231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422863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6320" y="312357"/>
            <a:ext cx="7726680" cy="6092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KEEP ATLANTA BEAUTIFUL COMMISSION (Continued) 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6320" y="921640"/>
            <a:ext cx="8554340" cy="2343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2060"/>
                </a:solidFill>
                <a:latin typeface="+mn-lt"/>
                <a:ea typeface="Times New Roman"/>
                <a:cs typeface="Times New Roman"/>
              </a:rPr>
              <a:t>Events/Projects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</a:pPr>
            <a:endParaRPr lang="en-US" sz="1400" b="0" dirty="0">
              <a:solidFill>
                <a:prstClr val="black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ort McPherson Fall Festival</a:t>
            </a:r>
          </a:p>
          <a:p>
            <a:pPr marL="600075" lvl="1" indent="-25717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artnered with Councilmember Joyce Sheperd &amp; Fort McPherson LRA</a:t>
            </a:r>
          </a:p>
          <a:p>
            <a:pPr marL="600075" lvl="1" indent="-25717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esented DPW &amp; Keep Atlanta Beautiful Commission Initiatives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PU-K Beautification </a:t>
            </a:r>
          </a:p>
          <a:p>
            <a:pPr marL="600075" lvl="1" indent="-257175" fontAlgn="auto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rees Atlanta &amp; NPU-K Tree Planting on MLK Jr. Dr. &amp; Connecting Streets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Litter &amp; Recycling Story time at Northwest Library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merica Recycles Day Event with Councilmember Keisha Lance Bottoms &amp; Mayor’s Office of Sustainability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b="0" dirty="0">
                <a:solidFill>
                  <a:prstClr val="black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Liberty Tire Recycling Tour with City Council, DPW, &amp; Keep Atlanta Beautiful Commission Stakeholde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389" y="3416138"/>
            <a:ext cx="3243353" cy="22374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2024" y="3416138"/>
            <a:ext cx="3346994" cy="224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584020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20" y="522669"/>
            <a:ext cx="7726680" cy="609283"/>
          </a:xfrm>
        </p:spPr>
        <p:txBody>
          <a:bodyPr/>
          <a:lstStyle/>
          <a:p>
            <a:r>
              <a:rPr lang="en-US" dirty="0" smtClean="0"/>
              <a:t>Recycling Stakeholders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009589601"/>
              </p:ext>
            </p:extLst>
          </p:nvPr>
        </p:nvGraphicFramePr>
        <p:xfrm>
          <a:off x="552797" y="872836"/>
          <a:ext cx="8203276" cy="53450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78332981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4294967295"/>
          </p:nvPr>
        </p:nvSpPr>
        <p:spPr>
          <a:xfrm>
            <a:off x="178626" y="560083"/>
            <a:ext cx="8842712" cy="3476657"/>
          </a:xfrm>
        </p:spPr>
        <p:txBody>
          <a:bodyPr/>
          <a:lstStyle/>
          <a:p>
            <a:pPr marL="0" indent="0">
              <a:buNone/>
            </a:pPr>
            <a:r>
              <a:rPr lang="en-US" sz="1400" b="1" dirty="0" smtClean="0">
                <a:solidFill>
                  <a:srgbClr val="002060"/>
                </a:solidFill>
              </a:rPr>
              <a:t>Scrap Tire Abatement</a:t>
            </a:r>
          </a:p>
          <a:p>
            <a:endParaRPr lang="en-US" sz="1400" b="1" dirty="0" smtClean="0">
              <a:solidFill>
                <a:srgbClr val="002060"/>
              </a:solidFill>
            </a:endParaRPr>
          </a:p>
          <a:p>
            <a:pPr marL="0" lvl="0" indent="0" algn="l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prstClr val="black"/>
                </a:solidFill>
              </a:rPr>
              <a:t>Partnership with the Code Enforcement Commission</a:t>
            </a:r>
          </a:p>
          <a:p>
            <a:pPr marL="628650" lvl="1" indent="-285750" algn="l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</a:rPr>
              <a:t>City-Wide Scrap Tire Generator Workshop</a:t>
            </a:r>
          </a:p>
          <a:p>
            <a:pPr marL="628650" lvl="1" indent="-285750" algn="l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</a:rPr>
              <a:t>Scrap Tire Education &amp; Enforcement </a:t>
            </a:r>
            <a:r>
              <a:rPr lang="en-US" sz="1400" dirty="0" smtClean="0">
                <a:solidFill>
                  <a:prstClr val="black"/>
                </a:solidFill>
              </a:rPr>
              <a:t>Training</a:t>
            </a:r>
          </a:p>
          <a:p>
            <a:pPr marL="342900" lvl="1" indent="0" algn="l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prstClr val="black"/>
              </a:solidFill>
            </a:endParaRPr>
          </a:p>
          <a:p>
            <a:pPr marL="0" lvl="0" indent="0" algn="l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prstClr val="black"/>
                </a:solidFill>
              </a:rPr>
              <a:t>Scrap Tire Amnesty Events – Partnership with Atlanta City Council &amp; Liberty Tire Recycling</a:t>
            </a:r>
          </a:p>
          <a:p>
            <a:pPr marL="628650" lvl="1" indent="-285750" algn="l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</a:rPr>
              <a:t>Semi-annual Residential Scrap Tire Drive – Approx. 5,000 tires </a:t>
            </a:r>
          </a:p>
          <a:p>
            <a:pPr marL="628650" lvl="1" indent="-285750" algn="l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</a:rPr>
              <a:t>1</a:t>
            </a:r>
            <a:r>
              <a:rPr lang="en-US" sz="1400" baseline="30000" dirty="0">
                <a:solidFill>
                  <a:prstClr val="black"/>
                </a:solidFill>
              </a:rPr>
              <a:t>st</a:t>
            </a:r>
            <a:r>
              <a:rPr lang="en-US" sz="1400" dirty="0">
                <a:solidFill>
                  <a:prstClr val="black"/>
                </a:solidFill>
              </a:rPr>
              <a:t> Annual Business Amnesty Event – Approx. 2,000 tires</a:t>
            </a:r>
          </a:p>
          <a:p>
            <a:pPr marL="0" lvl="0" indent="0" algn="l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 smtClean="0">
              <a:solidFill>
                <a:prstClr val="black"/>
              </a:solidFill>
            </a:endParaRPr>
          </a:p>
          <a:p>
            <a:pPr marL="0" lvl="0" indent="0" algn="l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 smtClean="0">
                <a:solidFill>
                  <a:prstClr val="black"/>
                </a:solidFill>
              </a:rPr>
              <a:t>Local </a:t>
            </a:r>
            <a:r>
              <a:rPr lang="en-US" sz="1400" dirty="0">
                <a:solidFill>
                  <a:prstClr val="black"/>
                </a:solidFill>
              </a:rPr>
              <a:t>Government Scrap Tire Abatement Grant, Georgia Environmental Protection Division</a:t>
            </a:r>
          </a:p>
          <a:p>
            <a:pPr marL="628650" lvl="1" indent="-285750" algn="l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prstClr val="black"/>
                </a:solidFill>
              </a:rPr>
              <a:t>Reimbursed for abatement of over 2,000 scrap tires located in Northwest Atlanta</a:t>
            </a:r>
            <a:r>
              <a:rPr lang="en-US" sz="1400" dirty="0" smtClean="0">
                <a:solidFill>
                  <a:prstClr val="black"/>
                </a:solidFill>
              </a:rPr>
              <a:t>.</a:t>
            </a:r>
          </a:p>
          <a:p>
            <a:pPr marL="628650" lvl="1" indent="-285750" algn="l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400" dirty="0" smtClean="0">
                <a:solidFill>
                  <a:prstClr val="black"/>
                </a:solidFill>
              </a:rPr>
              <a:t>Awarded funding to assist with the cleanup of 4,000 scrap tires located in</a:t>
            </a:r>
          </a:p>
          <a:p>
            <a:pPr marL="342900" lvl="1" indent="0" algn="l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prstClr val="black"/>
                </a:solidFill>
              </a:rPr>
              <a:t> </a:t>
            </a:r>
            <a:r>
              <a:rPr lang="en-US" sz="1400" dirty="0" smtClean="0">
                <a:solidFill>
                  <a:prstClr val="black"/>
                </a:solidFill>
              </a:rPr>
              <a:t>     Southeast Atlanta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9269" y="2627927"/>
            <a:ext cx="1965533" cy="140881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9755" y="4565104"/>
            <a:ext cx="1948135" cy="148540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841821" y="4148851"/>
            <a:ext cx="5976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en-US" b="0" dirty="0">
                <a:solidFill>
                  <a:prstClr val="black"/>
                </a:solidFill>
                <a:latin typeface="+mn-lt"/>
              </a:rPr>
              <a:t>Afte</a:t>
            </a:r>
            <a:r>
              <a:rPr lang="en-US" sz="1400" b="0" dirty="0">
                <a:solidFill>
                  <a:prstClr val="black"/>
                </a:solidFill>
                <a:latin typeface="+mn-lt"/>
              </a:rPr>
              <a:t>r</a:t>
            </a:r>
          </a:p>
        </p:txBody>
      </p:sp>
      <p:sp>
        <p:nvSpPr>
          <p:cNvPr id="2" name="Rectangle 1"/>
          <p:cNvSpPr/>
          <p:nvPr/>
        </p:nvSpPr>
        <p:spPr>
          <a:xfrm>
            <a:off x="7410143" y="2226184"/>
            <a:ext cx="1427356" cy="345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dirty="0" smtClean="0">
                <a:solidFill>
                  <a:schemeClr val="tx1"/>
                </a:solidFill>
              </a:rPr>
              <a:t>Before</a:t>
            </a:r>
            <a:endParaRPr lang="en-US" b="0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9230139"/>
              </p:ext>
            </p:extLst>
          </p:nvPr>
        </p:nvGraphicFramePr>
        <p:xfrm>
          <a:off x="519035" y="4036740"/>
          <a:ext cx="6096000" cy="156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219200"/>
                <a:gridCol w="1219200"/>
                <a:gridCol w="1219200"/>
                <a:gridCol w="121920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Year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nnual Collec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nnual Cos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g. Monthly Collec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g. Monthly Cost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1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1,20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59,067.5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,76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3,255.63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1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1,46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61,002.5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,78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3,416.88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1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3,58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76,850.0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,620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9,650.00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995679" y="3676147"/>
            <a:ext cx="4814107" cy="2732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DPW Scrap Tire Collections &amp; Costs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327963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5926" y="547870"/>
            <a:ext cx="7726680" cy="6092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SOLID WASTE EDUCATION &amp; ENFORCEMENT TEAM</a:t>
            </a:r>
            <a:endParaRPr lang="en-US" sz="2000" dirty="0">
              <a:solidFill>
                <a:srgbClr val="00206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60" y="958625"/>
            <a:ext cx="6754839" cy="283166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57941" y="5685391"/>
            <a:ext cx="647343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rPr>
              <a:t>During the 4th quarter the SWEET team enhanced their inspections resulting in an increase in the number of courtesy tickets given from 892 to 978 tickets. This is a percent increase of 9.64% from 3rd quarter.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rPr>
              <a:t>The increase in courtesy tickets resulted in a percent compliance increase of 35.95%. This also precipitated a decrease of 47.53% in citations written.</a:t>
            </a:r>
            <a:endParaRPr kumimoji="0" lang="en-US" sz="1100" i="1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3599" y="1351458"/>
            <a:ext cx="1382109" cy="12623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0511" y="2718186"/>
            <a:ext cx="1345197" cy="1228223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656201"/>
              </p:ext>
            </p:extLst>
          </p:nvPr>
        </p:nvGraphicFramePr>
        <p:xfrm>
          <a:off x="1602362" y="3822318"/>
          <a:ext cx="4984595" cy="187340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180466"/>
                <a:gridCol w="964815"/>
                <a:gridCol w="870399"/>
                <a:gridCol w="1005227"/>
                <a:gridCol w="963688"/>
              </a:tblGrid>
              <a:tr h="50180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Quarter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urtesy Ticke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itations Issu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rcent Complianc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ines Collected</a:t>
                      </a:r>
                      <a:endParaRPr lang="en-US" sz="1200" dirty="0"/>
                    </a:p>
                  </a:txBody>
                  <a:tcPr/>
                </a:tc>
              </a:tr>
              <a:tr h="2022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Q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,26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8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7.7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5,215</a:t>
                      </a:r>
                      <a:endParaRPr lang="en-US" sz="1200" dirty="0"/>
                    </a:p>
                  </a:txBody>
                  <a:tcPr/>
                </a:tc>
              </a:tr>
              <a:tr h="2022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Q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9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6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9.2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20,773</a:t>
                      </a:r>
                      <a:endParaRPr lang="en-US" sz="1200" dirty="0"/>
                    </a:p>
                  </a:txBody>
                  <a:tcPr/>
                </a:tc>
              </a:tr>
              <a:tr h="2022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Q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78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9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0.5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4,846</a:t>
                      </a:r>
                      <a:endParaRPr lang="en-US" sz="1200" dirty="0"/>
                    </a:p>
                  </a:txBody>
                  <a:tcPr/>
                </a:tc>
              </a:tr>
              <a:tr h="2022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verag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4,43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7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3.28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13,611.33</a:t>
                      </a:r>
                      <a:endParaRPr lang="en-US" sz="1200" dirty="0"/>
                    </a:p>
                  </a:txBody>
                  <a:tcPr/>
                </a:tc>
              </a:tr>
              <a:tr h="2022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Tota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,13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37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3.28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$40,834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8454167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994" y="623681"/>
            <a:ext cx="7726680" cy="6092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OPERATING HIGHLIGHT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72370" y="1252811"/>
            <a:ext cx="69434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Aft>
                <a:spcPts val="0"/>
              </a:spcAft>
            </a:pPr>
            <a:r>
              <a:rPr lang="en-US" altLang="en-US" sz="1400" b="0" dirty="0">
                <a:solidFill>
                  <a:prstClr val="black"/>
                </a:solidFill>
                <a:latin typeface="Calibri"/>
                <a:cs typeface="+mn-cs"/>
              </a:rPr>
              <a:t>The Office of Fleet Services utilizes </a:t>
            </a:r>
          </a:p>
          <a:p>
            <a:pPr lvl="0" algn="ctr" fontAlgn="auto">
              <a:spcAft>
                <a:spcPts val="0"/>
              </a:spcAft>
            </a:pPr>
            <a:r>
              <a:rPr lang="en-US" altLang="en-US" sz="1400" b="0" dirty="0">
                <a:solidFill>
                  <a:prstClr val="black"/>
                </a:solidFill>
                <a:latin typeface="Calibri"/>
                <a:cs typeface="+mn-cs"/>
              </a:rPr>
              <a:t>Public Surplus.com to conduct online auctions for the surplus of equipment</a:t>
            </a:r>
            <a:r>
              <a:rPr lang="en-US" altLang="en-US" sz="1400" dirty="0">
                <a:solidFill>
                  <a:prstClr val="black"/>
                </a:solidFill>
                <a:latin typeface="Calibri"/>
                <a:cs typeface="+mn-cs"/>
              </a:rPr>
              <a:t>.</a:t>
            </a:r>
          </a:p>
        </p:txBody>
      </p:sp>
      <p:graphicFrame>
        <p:nvGraphicFramePr>
          <p:cNvPr id="12" name="Chart 11"/>
          <p:cNvGraphicFramePr/>
          <p:nvPr>
            <p:extLst/>
          </p:nvPr>
        </p:nvGraphicFramePr>
        <p:xfrm>
          <a:off x="1355685" y="1670834"/>
          <a:ext cx="6294051" cy="4562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2918760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1452372"/>
              </p:ext>
            </p:extLst>
          </p:nvPr>
        </p:nvGraphicFramePr>
        <p:xfrm>
          <a:off x="533785" y="1248228"/>
          <a:ext cx="8610214" cy="46231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5107"/>
                <a:gridCol w="4305107"/>
              </a:tblGrid>
              <a:tr h="297206"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400" dirty="0" smtClean="0">
                          <a:solidFill>
                            <a:srgbClr val="F8F8F8"/>
                          </a:solidFill>
                          <a:ea typeface="SimSun"/>
                          <a:cs typeface="SimSun"/>
                        </a:rPr>
                        <a:t>Overall  Goal Status</a:t>
                      </a:r>
                    </a:p>
                  </a:txBody>
                  <a:tcPr>
                    <a:solidFill>
                      <a:srgbClr val="00347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400" dirty="0" smtClean="0">
                          <a:solidFill>
                            <a:srgbClr val="F8F8F8"/>
                          </a:solidFill>
                          <a:ea typeface="SimSun"/>
                          <a:cs typeface="SimSun"/>
                        </a:rPr>
                        <a:t> Public Works  Status</a:t>
                      </a:r>
                    </a:p>
                  </a:txBody>
                  <a:tcPr>
                    <a:solidFill>
                      <a:srgbClr val="003472"/>
                    </a:solidFill>
                  </a:tcPr>
                </a:tc>
              </a:tr>
              <a:tr h="2310311">
                <a:tc>
                  <a:txBody>
                    <a:bodyPr/>
                    <a:lstStyle/>
                    <a:p>
                      <a:pPr marL="112713" marR="0" indent="-112713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00B050"/>
                          </a:solidFill>
                        </a:rPr>
                        <a:t>Green (90-100% fill rate)</a:t>
                      </a:r>
                      <a:r>
                        <a:rPr lang="en-US" sz="1400" dirty="0" smtClean="0">
                          <a:solidFill>
                            <a:srgbClr val="000000"/>
                          </a:solidFill>
                        </a:rPr>
                        <a:t>: </a:t>
                      </a:r>
                      <a:r>
                        <a:rPr lang="en-US" sz="1400" b="0" dirty="0" smtClean="0">
                          <a:solidFill>
                            <a:srgbClr val="000000"/>
                          </a:solidFill>
                        </a:rPr>
                        <a:t>Fleet Services</a:t>
                      </a:r>
                    </a:p>
                    <a:p>
                      <a:pPr marL="112713" marR="0" indent="-112713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C49500"/>
                          </a:solidFill>
                        </a:rPr>
                        <a:t>Yellow (70-89% fill rate)</a:t>
                      </a:r>
                      <a:r>
                        <a:rPr lang="en-US" sz="1400" b="0" dirty="0" smtClean="0">
                          <a:solidFill>
                            <a:srgbClr val="C49500"/>
                          </a:solidFill>
                        </a:rPr>
                        <a:t>: </a:t>
                      </a:r>
                      <a:r>
                        <a:rPr lang="en-US" sz="1400" b="0" dirty="0" smtClean="0">
                          <a:solidFill>
                            <a:srgbClr val="000000"/>
                          </a:solidFill>
                        </a:rPr>
                        <a:t>Office of the Commissioner, Solid Waste Services, Streetcar Services, and Transportation</a:t>
                      </a:r>
                    </a:p>
                    <a:p>
                      <a:pPr marL="112713" indent="-112713">
                        <a:spcAft>
                          <a:spcPts val="600"/>
                        </a:spcAft>
                        <a:buSzPct val="90000"/>
                        <a:buFont typeface="Wingdings" pitchFamily="2" charset="2"/>
                        <a:buChar char="§"/>
                      </a:pPr>
                      <a:r>
                        <a:rPr lang="en-US" sz="1400" dirty="0" smtClean="0">
                          <a:solidFill>
                            <a:srgbClr val="FF0000"/>
                          </a:solidFill>
                        </a:rPr>
                        <a:t>Red (&gt;70% fill rate): </a:t>
                      </a:r>
                      <a:r>
                        <a:rPr lang="en-US" sz="1400" b="0" dirty="0" smtClean="0">
                          <a:solidFill>
                            <a:srgbClr val="000000"/>
                          </a:solidFill>
                        </a:rPr>
                        <a:t>Non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u="sng" dirty="0" smtClean="0"/>
                        <a:t>Total Positions: </a:t>
                      </a:r>
                      <a:r>
                        <a:rPr lang="en-US" sz="1800" b="1" u="sng" dirty="0" smtClean="0"/>
                        <a:t>965</a:t>
                      </a:r>
                    </a:p>
                    <a:p>
                      <a:endParaRPr lang="en-US" sz="800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Open: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800" b="1" dirty="0" smtClean="0">
                          <a:solidFill>
                            <a:srgbClr val="00B0F0"/>
                          </a:solidFill>
                        </a:rPr>
                        <a:t>74 (8.6% vacancy rate)</a:t>
                      </a:r>
                    </a:p>
                    <a:p>
                      <a:r>
                        <a:rPr lang="en-US" sz="1050" b="1" dirty="0" smtClean="0">
                          <a:solidFill>
                            <a:srgbClr val="00B0F0"/>
                          </a:solidFill>
                        </a:rPr>
                        <a:t>*Vacant positions (excluding in process)/ Total Positions</a:t>
                      </a:r>
                      <a:endParaRPr lang="en-US" sz="800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On hold: </a:t>
                      </a:r>
                      <a:r>
                        <a:rPr lang="en-US" sz="1400" b="1" dirty="0" smtClean="0">
                          <a:solidFill>
                            <a:srgbClr val="00B0F0"/>
                          </a:solidFill>
                        </a:rPr>
                        <a:t>9</a:t>
                      </a: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Recommended/In Process: </a:t>
                      </a:r>
                      <a:r>
                        <a:rPr lang="en-US" sz="1400" b="1" dirty="0" smtClean="0">
                          <a:solidFill>
                            <a:srgbClr val="00B0F0"/>
                          </a:solidFill>
                        </a:rPr>
                        <a:t>45</a:t>
                      </a:r>
                      <a:endParaRPr lang="en-US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Filled: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dirty="0" smtClean="0">
                          <a:solidFill>
                            <a:srgbClr val="00B0F0"/>
                          </a:solidFill>
                        </a:rPr>
                        <a:t>837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dirty="0" smtClean="0"/>
                        <a:t>Percentage Filled: </a:t>
                      </a:r>
                      <a:r>
                        <a:rPr lang="en-US" sz="1400" b="1" dirty="0" smtClean="0">
                          <a:solidFill>
                            <a:srgbClr val="00B0F0"/>
                          </a:solidFill>
                        </a:rPr>
                        <a:t>86.7%</a:t>
                      </a:r>
                    </a:p>
                    <a:p>
                      <a:r>
                        <a:rPr lang="en-US" sz="1400" b="1" dirty="0" smtClean="0"/>
                        <a:t> </a:t>
                      </a:r>
                      <a:r>
                        <a:rPr lang="en-US" sz="1400" b="1" dirty="0" smtClean="0">
                          <a:solidFill>
                            <a:srgbClr val="00B0F0"/>
                          </a:solidFill>
                        </a:rPr>
                        <a:t>(filled/total positions)</a:t>
                      </a:r>
                      <a:r>
                        <a:rPr lang="en-US" sz="1400" b="1" dirty="0" smtClean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23875"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400" b="1" dirty="0" smtClean="0">
                          <a:solidFill>
                            <a:srgbClr val="F8F8F8"/>
                          </a:solidFill>
                          <a:ea typeface="SimSun"/>
                          <a:cs typeface="SimSun"/>
                        </a:rPr>
                        <a:t>90 Day Plan- Vacancy Control</a:t>
                      </a:r>
                    </a:p>
                  </a:txBody>
                  <a:tcPr>
                    <a:solidFill>
                      <a:srgbClr val="00347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zh-CN" sz="1400" b="1" dirty="0" smtClean="0">
                          <a:solidFill>
                            <a:srgbClr val="F8F8F8"/>
                          </a:solidFill>
                          <a:ea typeface="SimSun"/>
                          <a:cs typeface="SimSun"/>
                        </a:rPr>
                        <a:t>Key Initiatives </a:t>
                      </a:r>
                    </a:p>
                  </a:txBody>
                  <a:tcPr>
                    <a:solidFill>
                      <a:srgbClr val="003472"/>
                    </a:solidFill>
                  </a:tcPr>
                </a:tc>
              </a:tr>
              <a:tr h="1684152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400" dirty="0" smtClean="0"/>
                        <a:t>Overall Vacancy reduction by 2%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400" dirty="0" smtClean="0"/>
                        <a:t>Partner with Talent Acquisition to identify key initiatives to reduce time to fill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400" dirty="0" smtClean="0"/>
                        <a:t>Ensure all critical DPW vacancies filled within 60 day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1400" dirty="0" smtClean="0"/>
                        <a:t>Develop plan to gain process efficiencies within DPW HR ex. Authorization to Fill (ATF) proces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Develop a retention strategy for Solid Waste and Equipment Operators I, II, II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Provide training opportunities for heavy equipment operators to increase internal promo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dirty="0" smtClean="0">
                          <a:ea typeface="SimSun"/>
                          <a:cs typeface="SimSun"/>
                        </a:rPr>
                        <a:t>Utilize hiring blitzes, job fairs, and professional organizations to recruit hard to fill positions</a:t>
                      </a:r>
                      <a:endParaRPr lang="en-GB" altLang="zh-CN" sz="1400" b="0" dirty="0" smtClean="0">
                        <a:ea typeface="SimSun"/>
                        <a:cs typeface="SimSun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13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119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9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3305" name="STitle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501868" y="471340"/>
            <a:ext cx="8358783" cy="5109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83000"/>
              </a:lnSpc>
              <a:defRPr/>
            </a:pPr>
            <a:endParaRPr lang="en-US" sz="2200" b="0" kern="0" dirty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83000"/>
              </a:lnSpc>
              <a:defRPr/>
            </a:pPr>
            <a:r>
              <a:rPr lang="en-US" altLang="zh-CN" sz="1800" b="0" dirty="0" smtClean="0">
                <a:solidFill>
                  <a:srgbClr val="002060"/>
                </a:solidFill>
                <a:latin typeface="+mn-lt"/>
              </a:rPr>
              <a:t>Staffing Scorecard: Week of February 20, 2017</a:t>
            </a:r>
            <a:endParaRPr lang="en-GB" altLang="zh-CN" sz="1800" b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8134" name="AutoShape 34" descr="cid:510281716@18122012-0356"/>
          <p:cNvSpPr>
            <a:spLocks noChangeAspect="1" noChangeArrowheads="1"/>
          </p:cNvSpPr>
          <p:nvPr/>
        </p:nvSpPr>
        <p:spPr bwMode="auto">
          <a:xfrm>
            <a:off x="1" y="-857250"/>
            <a:ext cx="17798143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3" name="Picture 22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7107" y="3846708"/>
            <a:ext cx="510630" cy="510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3378934" y="283841"/>
            <a:ext cx="2604650" cy="124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UMAN RESOURCE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98102" y="2169225"/>
            <a:ext cx="426757" cy="13168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69490" y="2277306"/>
            <a:ext cx="268247" cy="27434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77356" y="2683791"/>
            <a:ext cx="268247" cy="25605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77356" y="3060547"/>
            <a:ext cx="280440" cy="30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6571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AVERAGE VEHICLE AVAILABILITY</a:t>
            </a:r>
            <a:endParaRPr lang="en-US" sz="2000" dirty="0">
              <a:solidFill>
                <a:srgbClr val="00206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5171" y="1258601"/>
            <a:ext cx="8118434" cy="371276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525011" y="4971370"/>
            <a:ext cx="55504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Aft>
                <a:spcPts val="0"/>
              </a:spcAft>
            </a:pPr>
            <a:r>
              <a:rPr lang="en-US" altLang="en-US" sz="1400" b="0" dirty="0">
                <a:solidFill>
                  <a:prstClr val="black"/>
                </a:solidFill>
                <a:latin typeface="+mn-lt"/>
                <a:cs typeface="+mn-cs"/>
              </a:rPr>
              <a:t>The Office of Fleet Services is responsible for maintaining nearly 5600 pieces of </a:t>
            </a:r>
            <a:r>
              <a:rPr lang="en-US" altLang="en-US" sz="1400" b="0" dirty="0" smtClean="0">
                <a:solidFill>
                  <a:prstClr val="black"/>
                </a:solidFill>
                <a:latin typeface="+mn-lt"/>
                <a:cs typeface="+mn-cs"/>
              </a:rPr>
              <a:t>rolling </a:t>
            </a:r>
            <a:r>
              <a:rPr lang="en-US" altLang="en-US" sz="1400" b="0" dirty="0">
                <a:solidFill>
                  <a:prstClr val="black"/>
                </a:solidFill>
                <a:latin typeface="+mn-lt"/>
                <a:cs typeface="+mn-cs"/>
              </a:rPr>
              <a:t>equipment including critical services for Fire and Police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3793" y="4971370"/>
            <a:ext cx="1976114" cy="135251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-795528" y="735381"/>
            <a:ext cx="3813048" cy="384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rgbClr val="002060"/>
                </a:solidFill>
              </a:rPr>
              <a:t>AVAILABILITY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118588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596836"/>
              </p:ext>
            </p:extLst>
          </p:nvPr>
        </p:nvGraphicFramePr>
        <p:xfrm>
          <a:off x="156119" y="1092816"/>
          <a:ext cx="8854067" cy="5519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6888"/>
                <a:gridCol w="1494740"/>
                <a:gridCol w="1770813"/>
                <a:gridCol w="1770813"/>
                <a:gridCol w="1770813"/>
              </a:tblGrid>
              <a:tr h="36891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Departme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Q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Q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Q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Q4</a:t>
                      </a:r>
                      <a:endParaRPr lang="en-US" sz="1400" dirty="0"/>
                    </a:p>
                  </a:txBody>
                  <a:tcPr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Airport Fire &amp; Rescu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9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4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Airport Polic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9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9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Aviation Department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3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8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8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8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Correction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9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9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AIM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88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1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4364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DPW - Commissioner's Offic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2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4364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DPW - Office Of Fleet Servic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5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7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7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9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38623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DPW - Solid Waste Services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1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2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4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DPW - Transportation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90%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9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4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Financ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ire Rescu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2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2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2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uman Resourc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yor's Offi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ks &amp; Recreatio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2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lanni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6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lice Depart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7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licitor, Courts, Law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4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atershed - Drinking Wa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atershed - Waste Wa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9525" marR="9525" marT="9525" marB="0" anchor="b"/>
                </a:tc>
              </a:tr>
              <a:tr h="228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2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657922"/>
            <a:ext cx="2821259" cy="256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rgbClr val="002060"/>
                </a:solidFill>
              </a:rPr>
              <a:t>PM COMPLIANCE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520364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41"/>
          <a:stretch/>
        </p:blipFill>
        <p:spPr>
          <a:xfrm>
            <a:off x="-10391" y="0"/>
            <a:ext cx="9154391" cy="775017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" y="3530389"/>
            <a:ext cx="9099014" cy="808895"/>
          </a:xfrm>
          <a:prstGeom prst="rect">
            <a:avLst/>
          </a:prstGeom>
          <a:solidFill>
            <a:srgbClr val="FFFFFF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7613" y="1850825"/>
            <a:ext cx="1301469" cy="1326238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34007" y="3572282"/>
            <a:ext cx="7668490" cy="79581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dirty="0" smtClean="0">
                <a:cs typeface="Arial"/>
              </a:rPr>
              <a:t>Thank you</a:t>
            </a:r>
            <a:endParaRPr lang="en-US" dirty="0"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02772" y="5476980"/>
            <a:ext cx="2325479" cy="752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36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4642" y="656503"/>
            <a:ext cx="7726680" cy="609283"/>
          </a:xfrm>
        </p:spPr>
        <p:txBody>
          <a:bodyPr/>
          <a:lstStyle/>
          <a:p>
            <a:r>
              <a:rPr lang="en-US" sz="2400" dirty="0" smtClean="0">
                <a:solidFill>
                  <a:srgbClr val="003472"/>
                </a:solidFill>
              </a:rPr>
              <a:t>FY17 BUDGET</a:t>
            </a:r>
            <a:endParaRPr lang="en-US" sz="2400" dirty="0">
              <a:solidFill>
                <a:srgbClr val="003472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5104588"/>
              </p:ext>
            </p:extLst>
          </p:nvPr>
        </p:nvGraphicFramePr>
        <p:xfrm>
          <a:off x="168332" y="1359305"/>
          <a:ext cx="7772400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1132608" y="4977248"/>
          <a:ext cx="6463146" cy="94153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73268"/>
                <a:gridCol w="789874"/>
                <a:gridCol w="789874"/>
                <a:gridCol w="789874"/>
                <a:gridCol w="1415191"/>
                <a:gridCol w="1415191"/>
                <a:gridCol w="789874"/>
              </a:tblGrid>
              <a:tr h="18830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 Budget </a:t>
                      </a:r>
                      <a:endParaRPr lang="en-US" sz="10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effectLst/>
                        </a:rPr>
                        <a:t> Actual </a:t>
                      </a:r>
                      <a:endParaRPr lang="en-US" sz="1000" b="1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%</a:t>
                      </a:r>
                      <a:endParaRPr lang="en-US" sz="10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188306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General Fund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     37,585,502.00 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effectLst/>
                        </a:rPr>
                        <a:t>     27,277,682.29 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effectLst/>
                        </a:rPr>
                        <a:t>73%</a:t>
                      </a:r>
                      <a:endParaRPr lang="en-US" sz="10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188306">
                <a:tc gridSpan="3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Solid Waste Revenue Fund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u="none" strike="noStrike" dirty="0">
                          <a:effectLst/>
                        </a:rPr>
                        <a:t>     55,607,233.00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u="none" strike="noStrike" dirty="0">
                          <a:effectLst/>
                        </a:rPr>
                        <a:t>     31,081,905.07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56%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188306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Fleet Services Fund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u="none" strike="noStrike" dirty="0">
                          <a:effectLst/>
                        </a:rPr>
                        <a:t>     33,400,588.00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u="none" strike="noStrike" dirty="0">
                          <a:effectLst/>
                        </a:rPr>
                        <a:t>     18,209,508.11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55%</a:t>
                      </a:r>
                      <a:endParaRPr lang="en-US" sz="10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18830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 </a:t>
                      </a:r>
                      <a:endParaRPr lang="en-US" sz="1000" b="1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>
                          <a:effectLst/>
                        </a:rPr>
                        <a:t>TOTAL</a:t>
                      </a:r>
                      <a:endParaRPr lang="en-US" sz="1000" b="1" i="0" u="none" strike="noStrike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>
                          <a:effectLst/>
                        </a:rPr>
                        <a:t> </a:t>
                      </a:r>
                      <a:endParaRPr lang="en-US" sz="10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>
                          <a:effectLst/>
                        </a:rPr>
                        <a:t> </a:t>
                      </a:r>
                      <a:endParaRPr lang="en-US" sz="10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u="none" strike="noStrike" dirty="0">
                          <a:effectLst/>
                        </a:rPr>
                        <a:t>    126,593,323.00 </a:t>
                      </a:r>
                      <a:endParaRPr lang="en-US" sz="10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u="none" strike="noStrike" dirty="0">
                          <a:effectLst/>
                        </a:rPr>
                        <a:t>     76,569,095.47 </a:t>
                      </a:r>
                      <a:endParaRPr lang="en-US" sz="10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>
                          <a:effectLst/>
                        </a:rPr>
                        <a:t>60%</a:t>
                      </a:r>
                      <a:endParaRPr lang="en-US" sz="10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0217651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7816" y="625329"/>
            <a:ext cx="8790709" cy="609283"/>
          </a:xfrm>
        </p:spPr>
        <p:txBody>
          <a:bodyPr/>
          <a:lstStyle/>
          <a:p>
            <a:r>
              <a:rPr lang="en-US" sz="2200" dirty="0" smtClean="0">
                <a:solidFill>
                  <a:srgbClr val="003472"/>
                </a:solidFill>
              </a:rPr>
              <a:t>GENERAL FUND</a:t>
            </a:r>
            <a:endParaRPr lang="en-US" sz="2200" dirty="0">
              <a:solidFill>
                <a:srgbClr val="003472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/>
          </p:nvPr>
        </p:nvGraphicFramePr>
        <p:xfrm>
          <a:off x="51955" y="1400868"/>
          <a:ext cx="3886200" cy="3733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207816" y="4953717"/>
            <a:ext cx="551067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General Fund allocation for FY17 is $37.5M.  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36</a:t>
            </a:r>
            <a:r>
              <a:rPr lang="en-US" sz="1400" b="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% of the General Fund allocation </a:t>
            </a:r>
            <a:r>
              <a:rPr lang="en-US" sz="1400" b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is for Salaries and Benefits </a:t>
            </a:r>
            <a:r>
              <a:rPr lang="en-US" sz="1400" b="0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($13.5M</a:t>
            </a:r>
            <a:r>
              <a:rPr lang="en-US" sz="1400" b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). </a:t>
            </a: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8M of the 11.6M allocated for Supplies is electricity for citywide signals and lights.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4052456" y="1394940"/>
          <a:ext cx="4792140" cy="3613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75893474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83127" y="1863438"/>
          <a:ext cx="4416136" cy="3976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46049" y="530179"/>
            <a:ext cx="4876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>
                <a:solidFill>
                  <a:srgbClr val="003472"/>
                </a:solidFill>
                <a:latin typeface="+mj-lt"/>
              </a:rPr>
              <a:t>SOLID WASTE REVENUE FUND</a:t>
            </a:r>
            <a:endParaRPr lang="en-US" sz="2200" b="1" dirty="0">
              <a:solidFill>
                <a:srgbClr val="003472"/>
              </a:solidFill>
              <a:latin typeface="+mj-lt"/>
            </a:endParaRPr>
          </a:p>
        </p:txBody>
      </p:sp>
      <p:graphicFrame>
        <p:nvGraphicFramePr>
          <p:cNvPr id="6" name="Content Placeholder 6"/>
          <p:cNvGraphicFramePr>
            <a:graphicFrameLocks/>
          </p:cNvGraphicFramePr>
          <p:nvPr>
            <p:extLst/>
          </p:nvPr>
        </p:nvGraphicFramePr>
        <p:xfrm>
          <a:off x="249382" y="983397"/>
          <a:ext cx="3810000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/>
          <p:cNvSpPr/>
          <p:nvPr/>
        </p:nvSpPr>
        <p:spPr>
          <a:xfrm>
            <a:off x="299404" y="4792735"/>
            <a:ext cx="61499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The Solid Waste Revenue Fund Budget is $55.6M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50% of this budget is for Salaries.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15% of the Solid Waste budget is for Indirect Costs or charges from other departments</a:t>
            </a:r>
            <a:r>
              <a:rPr lang="en-US" sz="1200" b="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/>
          </p:nvPr>
        </p:nvGraphicFramePr>
        <p:xfrm>
          <a:off x="4343461" y="1211352"/>
          <a:ext cx="4549686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519027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2299" y="573058"/>
            <a:ext cx="274004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dirty="0" smtClean="0">
                <a:solidFill>
                  <a:srgbClr val="003472"/>
                </a:solidFill>
                <a:latin typeface="+mj-lt"/>
              </a:rPr>
              <a:t>FLEET SERVICES FUND</a:t>
            </a:r>
            <a:endParaRPr lang="en-US" sz="2200" dirty="0">
              <a:solidFill>
                <a:srgbClr val="003472"/>
              </a:solidFill>
              <a:latin typeface="+mj-lt"/>
            </a:endParaRPr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/>
          </p:nvPr>
        </p:nvGraphicFramePr>
        <p:xfrm>
          <a:off x="-166254" y="1181100"/>
          <a:ext cx="4114800" cy="3148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/>
          <p:nvPr/>
        </p:nvSpPr>
        <p:spPr>
          <a:xfrm>
            <a:off x="213453" y="4811437"/>
            <a:ext cx="73313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Fleet Services Budget for FY17 is  $33.4M.</a:t>
            </a:r>
          </a:p>
          <a:p>
            <a:pPr marL="285750" lvl="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$8M of the supplies budget is allocated for city-wide fuel; $4.8M is allocated for purchase of parts for repairs.</a:t>
            </a: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4310062" y="1140870"/>
          <a:ext cx="4437428" cy="338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96829485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0785" y="530587"/>
            <a:ext cx="81001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3472"/>
                </a:solidFill>
                <a:cs typeface="Arial" charset="0"/>
              </a:rPr>
              <a:t>COUNCIL REPORT TABLE 4</a:t>
            </a:r>
            <a:r>
              <a:rPr lang="en-US" sz="2000" b="1" baseline="30000" dirty="0">
                <a:solidFill>
                  <a:srgbClr val="003472"/>
                </a:solidFill>
                <a:cs typeface="Arial" charset="0"/>
              </a:rPr>
              <a:t>th</a:t>
            </a:r>
            <a:r>
              <a:rPr lang="en-US" sz="2000" b="1" dirty="0">
                <a:solidFill>
                  <a:srgbClr val="003472"/>
                </a:solidFill>
                <a:cs typeface="Arial" charset="0"/>
              </a:rPr>
              <a:t> Quarter</a:t>
            </a:r>
            <a:endParaRPr lang="en-US" sz="2000" b="1" dirty="0">
              <a:solidFill>
                <a:prstClr val="black"/>
              </a:solidFill>
              <a:cs typeface="Arial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260236"/>
              </p:ext>
            </p:extLst>
          </p:nvPr>
        </p:nvGraphicFramePr>
        <p:xfrm>
          <a:off x="457200" y="1127125"/>
          <a:ext cx="8097327" cy="5067250"/>
        </p:xfrm>
        <a:graphic>
          <a:graphicData uri="http://schemas.openxmlformats.org/drawingml/2006/table">
            <a:tbl>
              <a:tblPr firstRow="1" lastRow="1" bandRow="1">
                <a:tableStyleId>{6E25E649-3F16-4E02-A733-19D2CDBF48F0}</a:tableStyleId>
              </a:tblPr>
              <a:tblGrid>
                <a:gridCol w="2199774"/>
                <a:gridCol w="1255086"/>
                <a:gridCol w="1147121"/>
                <a:gridCol w="1390041"/>
                <a:gridCol w="944688"/>
                <a:gridCol w="1160617"/>
              </a:tblGrid>
              <a:tr h="5124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</a:rPr>
                        <a:t>Council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</a:rPr>
                        <a:t> District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Total </a:t>
                      </a:r>
                      <a:r>
                        <a:rPr lang="en-US" sz="1400" u="none" strike="noStrike" dirty="0" smtClean="0">
                          <a:effectLst/>
                        </a:rPr>
                        <a:t>No. </a:t>
                      </a:r>
                      <a:r>
                        <a:rPr lang="en-US" sz="1400" u="none" strike="noStrike" dirty="0">
                          <a:effectLst/>
                        </a:rPr>
                        <a:t>of </a:t>
                      </a:r>
                      <a:r>
                        <a:rPr lang="en-US" sz="1400" u="none" strike="noStrike" dirty="0" smtClean="0">
                          <a:effectLst/>
                        </a:rPr>
                        <a:t>Service Requests </a:t>
                      </a:r>
                      <a:r>
                        <a:rPr lang="en-US" sz="1400" u="none" strike="noStrike" dirty="0">
                          <a:effectLst/>
                        </a:rPr>
                        <a:t>Submitted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</a:rPr>
                        <a:t>Closed </a:t>
                      </a:r>
                      <a:r>
                        <a:rPr lang="en-US" sz="1400" u="none" strike="noStrike" dirty="0">
                          <a:effectLst/>
                        </a:rPr>
                        <a:t>Solid Waste </a:t>
                      </a:r>
                      <a:endParaRPr lang="en-US" sz="1400" u="none" strike="noStrike" dirty="0" smtClean="0">
                        <a:effectLst/>
                      </a:endParaRPr>
                    </a:p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</a:rPr>
                        <a:t>%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</a:rPr>
                        <a:t>Closed Transportation</a:t>
                      </a:r>
                    </a:p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</a:rPr>
                        <a:t>%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baseline="0" dirty="0" smtClean="0">
                          <a:effectLst/>
                        </a:rPr>
                        <a:t>Past Due</a:t>
                      </a:r>
                    </a:p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%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effectLst/>
                        </a:rPr>
                        <a:t>Percent </a:t>
                      </a:r>
                      <a:r>
                        <a:rPr lang="en-US" sz="1400" u="none" strike="noStrike" dirty="0">
                          <a:effectLst/>
                        </a:rPr>
                        <a:t>of Total Service </a:t>
                      </a:r>
                      <a:r>
                        <a:rPr lang="en-US" sz="1400" u="none" strike="noStrike" dirty="0" smtClean="0">
                          <a:effectLst/>
                        </a:rPr>
                        <a:t>Requests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0070C0"/>
                    </a:solidFill>
                  </a:tcPr>
                </a:tc>
              </a:tr>
              <a:tr h="2196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Council President – Ceasar Mitchel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3.3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6.6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.9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istrict 1 – Carla Smit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.56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94.44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6.6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5.9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istrict 2 – Kwanza Hal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00.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.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6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istrict 3 – Ivory You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83.3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6.6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.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.9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istrict 4 – Cleta Winsl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0.7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9.26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.56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7.9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istrict 5 – Natalyn Archibo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7.5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62.5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5.6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1.2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istrict 6 – Alex W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1.3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8.62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4.14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.6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istrict 7 – Howard Shook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8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.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.6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istrict 8 – Yolanda Adre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1.5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8.4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0.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.3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istrict 9 – Felicia Moor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8.7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1.2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9.3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.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istrict 10 – C.T. Marti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5.3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84.6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5.3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.3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istrict 11 – Keisha Bottom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8.5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1.4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.7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.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istrict 12 – Joyce Sheper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3.3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.9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Post 1 – Michael Bon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5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5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5.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.3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ost 2 – Mary Norwoo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0</a:t>
                      </a:r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smtClean="0">
                          <a:effectLst/>
                        </a:rPr>
                        <a:t>0.00%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</a:t>
                      </a:r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</a:t>
                      </a:r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</a:t>
                      </a:r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Post 3 - Andre </a:t>
                      </a:r>
                      <a:r>
                        <a:rPr lang="en-US" sz="1200" u="none" strike="noStrike" dirty="0" smtClean="0">
                          <a:effectLst/>
                        </a:rPr>
                        <a:t>Dicke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3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19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</a:rPr>
                        <a:t>Mayor's Offi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 0.00%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2875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smtClean="0">
                          <a:effectLst/>
                        </a:rPr>
                        <a:t>District Unkn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0.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 0.00%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indent="0" algn="ctr" defTabSz="91437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dirty="0" smtClean="0">
                          <a:effectLst/>
                        </a:rPr>
                        <a:t>0.00%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28755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22875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Totals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01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8.17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8.17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2.62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00.00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96304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431730" y="5592987"/>
            <a:ext cx="80343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Total DPW Service Request Historical Data</a:t>
            </a:r>
            <a:endParaRPr lang="en-US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1730" y="460397"/>
            <a:ext cx="8210563" cy="526832"/>
          </a:xfrm>
        </p:spPr>
        <p:txBody>
          <a:bodyPr/>
          <a:lstStyle/>
          <a:p>
            <a:pPr algn="ctr"/>
            <a:r>
              <a:rPr lang="en-US" sz="2000" dirty="0" smtClean="0">
                <a:solidFill>
                  <a:srgbClr val="002060"/>
                </a:solidFill>
              </a:rPr>
              <a:t>CUSTOMER SERVICE PERFORMANCE METRICS</a:t>
            </a:r>
            <a:endParaRPr lang="en-US" sz="2000" dirty="0">
              <a:solidFill>
                <a:srgbClr val="00206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349434" y="1348258"/>
          <a:ext cx="8398055" cy="4078803"/>
        </p:xfrm>
        <a:graphic>
          <a:graphicData uri="http://schemas.openxmlformats.org/drawingml/2006/table">
            <a:tbl>
              <a:tblPr/>
              <a:tblGrid>
                <a:gridCol w="2791829"/>
                <a:gridCol w="1481337"/>
                <a:gridCol w="943601"/>
                <a:gridCol w="795322"/>
                <a:gridCol w="795322"/>
                <a:gridCol w="795322"/>
                <a:gridCol w="795322"/>
              </a:tblGrid>
              <a:tr h="4633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ERFORMANCE MEASUR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ITIATIV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portation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.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f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it and Excellenc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95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24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395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24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38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1015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portation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f SR meeting SLA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it and Excellenc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01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59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65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39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64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 of SR's Meeting SLA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11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24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4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0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6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9888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3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ERFORMANCE MEASUR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ITIATIV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marL="0" marR="0" indent="0" algn="l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id Waste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es No.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f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it and Excellenc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957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30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04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58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049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1015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id Waste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f SR meeting SLA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it and Excellenc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275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66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687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96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824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 of SR's Meeting SLA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30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85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6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2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7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9888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3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ERFORMANCE MEASUR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INITIATIV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Q 2016 ACTUAL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marL="0" marR="0" indent="0" algn="l" defTabSz="91437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W No.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f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it and Excellenc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52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54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399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82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287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W No. of SR meeting SLA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it and Excellence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76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325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952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535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188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126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centage of SR's Meeting SLA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6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3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43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7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94%</a:t>
                      </a: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50841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174" y="452764"/>
            <a:ext cx="7726680" cy="6092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PERFORMANCE METRICS</a:t>
            </a:r>
            <a:endParaRPr lang="en-US" sz="2000" dirty="0">
              <a:solidFill>
                <a:srgbClr val="00206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174" y="1151257"/>
            <a:ext cx="8175753" cy="511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37962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Ckt_XNO0SzFSlCXE.aWw"/>
</p:tagLst>
</file>

<file path=ppt/theme/theme1.xml><?xml version="1.0" encoding="utf-8"?>
<a:theme xmlns:a="http://schemas.openxmlformats.org/drawingml/2006/main" name="Office Theme">
  <a:themeElements>
    <a:clrScheme name="Origin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423</TotalTime>
  <Words>1962</Words>
  <Application>Microsoft Office PowerPoint</Application>
  <PresentationFormat>Letter Paper (8.5x11 in)</PresentationFormat>
  <Paragraphs>636</Paragraphs>
  <Slides>22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Office Theme</vt:lpstr>
      <vt:lpstr>1_Custom Design</vt:lpstr>
      <vt:lpstr>Custom Design</vt:lpstr>
      <vt:lpstr>think-cell Slide</vt:lpstr>
      <vt:lpstr>PowerPoint Presentation</vt:lpstr>
      <vt:lpstr>PowerPoint Presentation</vt:lpstr>
      <vt:lpstr>FY17 BUDGET</vt:lpstr>
      <vt:lpstr>GENERAL FUND</vt:lpstr>
      <vt:lpstr>PowerPoint Presentation</vt:lpstr>
      <vt:lpstr>PowerPoint Presentation</vt:lpstr>
      <vt:lpstr>PowerPoint Presentation</vt:lpstr>
      <vt:lpstr>CUSTOMER SERVICE PERFORMANCE METRICS</vt:lpstr>
      <vt:lpstr>PERFORMANCE METRICS</vt:lpstr>
      <vt:lpstr>PERFORMANCE METRICS</vt:lpstr>
      <vt:lpstr>PERFORMANCE METRICS</vt:lpstr>
      <vt:lpstr>OPERATING HIGHLIGHTS FOR ATLANTA STATS</vt:lpstr>
      <vt:lpstr>OPERATING HIGHLIGHTS – RECYCLING AND SUSTAINABILITY</vt:lpstr>
      <vt:lpstr>KEEP ATLANTA BEAUTIFUL COMMISSION</vt:lpstr>
      <vt:lpstr>KEEP ATLANTA BEAUTIFUL COMMISSION (Continued) </vt:lpstr>
      <vt:lpstr>Recycling Stakeholders</vt:lpstr>
      <vt:lpstr>PowerPoint Presentation</vt:lpstr>
      <vt:lpstr>SOLID WASTE EDUCATION &amp; ENFORCEMENT TEAM</vt:lpstr>
      <vt:lpstr>OPERATING HIGHLIGHTS</vt:lpstr>
      <vt:lpstr>AVERAGE VEHICLE AVAILABILITY</vt:lpstr>
      <vt:lpstr>PowerPoint Presentation</vt:lpstr>
      <vt:lpstr>PowerPoint Presentation</vt:lpstr>
    </vt:vector>
  </TitlesOfParts>
  <Company>Lenovo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enovo User</dc:creator>
  <cp:lastModifiedBy>AHCampbell</cp:lastModifiedBy>
  <cp:revision>2477</cp:revision>
  <cp:lastPrinted>2017-02-28T15:32:36Z</cp:lastPrinted>
  <dcterms:created xsi:type="dcterms:W3CDTF">2011-10-12T18:53:36Z</dcterms:created>
  <dcterms:modified xsi:type="dcterms:W3CDTF">2017-03-01T13:4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3</vt:i4>
  </property>
</Properties>
</file>